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charts/chart2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charts/chart3.xml" ContentType="application/vnd.openxmlformats-officedocument.drawingml.chart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charts/chart4.xml" ContentType="application/vnd.openxmlformats-officedocument.drawingml.chart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charts/chart5.xml" ContentType="application/vnd.openxmlformats-officedocument.drawingml.chart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charts/chart6.xml" ContentType="application/vnd.openxmlformats-officedocument.drawingml.chart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charts/chart7.xml" ContentType="application/vnd.openxmlformats-officedocument.drawingml.chart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charts/chart8.xml" ContentType="application/vnd.openxmlformats-officedocument.drawingml.chart+xml"/>
  <Override PartName="/ppt/tags/tag3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7" r:id="rId2"/>
    <p:sldId id="275" r:id="rId3"/>
    <p:sldId id="276" r:id="rId4"/>
    <p:sldId id="258" r:id="rId5"/>
    <p:sldId id="259" r:id="rId6"/>
    <p:sldId id="277" r:id="rId7"/>
    <p:sldId id="278" r:id="rId8"/>
    <p:sldId id="262" r:id="rId9"/>
    <p:sldId id="264" r:id="rId10"/>
    <p:sldId id="279" r:id="rId11"/>
    <p:sldId id="280" r:id="rId12"/>
    <p:sldId id="265" r:id="rId13"/>
    <p:sldId id="267" r:id="rId14"/>
    <p:sldId id="268" r:id="rId15"/>
    <p:sldId id="269" r:id="rId16"/>
    <p:sldId id="281" r:id="rId17"/>
    <p:sldId id="274" r:id="rId18"/>
  </p:sldIdLst>
  <p:sldSz cx="12192000" cy="6858000"/>
  <p:notesSz cx="6858000" cy="9144000"/>
  <p:custDataLst>
    <p:tags r:id="rId20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92" userDrawn="1">
          <p15:clr>
            <a:srgbClr val="A4A3A4"/>
          </p15:clr>
        </p15:guide>
        <p15:guide id="2" pos="211" userDrawn="1">
          <p15:clr>
            <a:srgbClr val="A4A3A4"/>
          </p15:clr>
        </p15:guide>
        <p15:guide id="3" pos="3840" userDrawn="1">
          <p15:clr>
            <a:srgbClr val="A4A3A4"/>
          </p15:clr>
        </p15:guide>
        <p15:guide id="4" pos="7491" userDrawn="1">
          <p15:clr>
            <a:srgbClr val="A4A3A4"/>
          </p15:clr>
        </p15:guide>
        <p15:guide id="5" orient="horz" pos="4178" userDrawn="1">
          <p15:clr>
            <a:srgbClr val="A4A3A4"/>
          </p15:clr>
        </p15:guide>
        <p15:guide id="6" orient="horz" pos="18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957BD"/>
    <a:srgbClr val="C64729"/>
    <a:srgbClr val="117F3F"/>
    <a:srgbClr val="633758"/>
    <a:srgbClr val="7CBBCE"/>
    <a:srgbClr val="BA96B8"/>
    <a:srgbClr val="CBC4B4"/>
    <a:srgbClr val="46777A"/>
    <a:srgbClr val="245825"/>
    <a:srgbClr val="E1A7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62" autoAdjust="0"/>
    <p:restoredTop sz="94660"/>
  </p:normalViewPr>
  <p:slideViewPr>
    <p:cSldViewPr snapToGrid="0" showGuides="1">
      <p:cViewPr varScale="1">
        <p:scale>
          <a:sx n="65" d="100"/>
          <a:sy n="65" d="100"/>
        </p:scale>
        <p:origin x="930" y="78"/>
      </p:cViewPr>
      <p:guideLst>
        <p:guide orient="horz" pos="2092"/>
        <p:guide pos="211"/>
        <p:guide pos="3840"/>
        <p:guide pos="7491"/>
        <p:guide orient="horz" pos="4178"/>
        <p:guide orient="horz" pos="18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046904315196998E-3"/>
          <c:y val="3.0732860520094562E-2"/>
          <c:w val="0.98499061913696062"/>
          <c:h val="0.9385342789598109"/>
        </c:manualLayout>
      </c:layout>
      <c:lineChart>
        <c:grouping val="standard"/>
        <c:varyColors val="0"/>
        <c:ser>
          <c:idx val="0"/>
          <c:order val="0"/>
          <c:spPr>
            <a:ln w="38100" algn="ctr">
              <a:solidFill>
                <a:srgbClr val="3957BD"/>
              </a:solidFill>
              <a:prstDash val="solid"/>
            </a:ln>
          </c:spPr>
          <c:marker>
            <c:symbol val="none"/>
          </c:marker>
          <c:val>
            <c:numRef>
              <c:f>Sheet1!$A$1:$F$1</c:f>
              <c:numCache>
                <c:formatCode>General</c:formatCode>
                <c:ptCount val="6"/>
                <c:pt idx="0">
                  <c:v>308882</c:v>
                </c:pt>
                <c:pt idx="1">
                  <c:v>283858.66666666669</c:v>
                </c:pt>
                <c:pt idx="2">
                  <c:v>434642</c:v>
                </c:pt>
                <c:pt idx="3">
                  <c:v>546109</c:v>
                </c:pt>
                <c:pt idx="4">
                  <c:v>688839.66666666663</c:v>
                </c:pt>
                <c:pt idx="5">
                  <c:v>554153.333333333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923-406D-B9EF-DC4A329858D7}"/>
            </c:ext>
          </c:extLst>
        </c:ser>
        <c:ser>
          <c:idx val="1"/>
          <c:order val="1"/>
          <c:spPr>
            <a:ln w="3810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F$2</c:f>
              <c:numCache>
                <c:formatCode>General</c:formatCode>
                <c:ptCount val="6"/>
                <c:pt idx="0">
                  <c:v>94789.333333333328</c:v>
                </c:pt>
                <c:pt idx="1">
                  <c:v>98900</c:v>
                </c:pt>
                <c:pt idx="2">
                  <c:v>108825.33333333333</c:v>
                </c:pt>
                <c:pt idx="3">
                  <c:v>101894.66666666667</c:v>
                </c:pt>
                <c:pt idx="4">
                  <c:v>91147.666666666672</c:v>
                </c:pt>
                <c:pt idx="5">
                  <c:v>62159.6666666666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923-406D-B9EF-DC4A329858D7}"/>
            </c:ext>
          </c:extLst>
        </c:ser>
        <c:ser>
          <c:idx val="2"/>
          <c:order val="2"/>
          <c:spPr>
            <a:ln w="3810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F$3</c:f>
              <c:numCache>
                <c:formatCode>General</c:formatCode>
                <c:ptCount val="6"/>
                <c:pt idx="0">
                  <c:v>48558</c:v>
                </c:pt>
                <c:pt idx="1">
                  <c:v>41703.333333333336</c:v>
                </c:pt>
                <c:pt idx="2">
                  <c:v>57140.333333333336</c:v>
                </c:pt>
                <c:pt idx="3">
                  <c:v>48414.333333333336</c:v>
                </c:pt>
                <c:pt idx="4">
                  <c:v>50266.666666666664</c:v>
                </c:pt>
                <c:pt idx="5">
                  <c:v>38574.33333333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923-406D-B9EF-DC4A329858D7}"/>
            </c:ext>
          </c:extLst>
        </c:ser>
        <c:ser>
          <c:idx val="3"/>
          <c:order val="3"/>
          <c:spPr>
            <a:ln w="3810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F$4</c:f>
              <c:numCache>
                <c:formatCode>General</c:formatCode>
                <c:ptCount val="6"/>
                <c:pt idx="0">
                  <c:v>26128.666666666668</c:v>
                </c:pt>
                <c:pt idx="1">
                  <c:v>23186</c:v>
                </c:pt>
                <c:pt idx="2">
                  <c:v>34367</c:v>
                </c:pt>
                <c:pt idx="3">
                  <c:v>29744.333333333332</c:v>
                </c:pt>
                <c:pt idx="4">
                  <c:v>31858.333333333332</c:v>
                </c:pt>
                <c:pt idx="5">
                  <c:v>22918.666666666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923-406D-B9EF-DC4A329858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31865663"/>
        <c:axId val="1"/>
      </c:lineChart>
      <c:catAx>
        <c:axId val="3318656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88839.6666666666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31865663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270270270270272E-3"/>
          <c:y val="2.3008849557522124E-2"/>
          <c:w val="0.98594594594594598"/>
          <c:h val="0.9539823008849557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FB5FF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CE1-4BA8-9C2A-3386CA4B493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CE1-4BA8-9C2A-3386CA4B493E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16.782633009027382</c:v>
                </c:pt>
                <c:pt idx="1">
                  <c:v>19.736829235324841</c:v>
                </c:pt>
                <c:pt idx="2">
                  <c:v>1.1233366389394235</c:v>
                </c:pt>
                <c:pt idx="3">
                  <c:v>1.35695631651191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E1-4BA8-9C2A-3386CA4B493E}"/>
            </c:ext>
          </c:extLst>
        </c:ser>
        <c:ser>
          <c:idx val="1"/>
          <c:order val="1"/>
          <c:spPr>
            <a:solidFill>
              <a:srgbClr val="A3C7A1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CFB5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CE1-4BA8-9C2A-3386CA4B493E}"/>
              </c:ext>
            </c:extLst>
          </c:dPt>
          <c:dPt>
            <c:idx val="3"/>
            <c:invertIfNegative val="0"/>
            <c:bubble3D val="0"/>
            <c:spPr>
              <a:solidFill>
                <a:srgbClr val="CFB5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4CE1-4BA8-9C2A-3386CA4B493E}"/>
              </c:ext>
            </c:extLst>
          </c:dPt>
          <c:val>
            <c:numRef>
              <c:f>Sheet1!$A$2:$D$2</c:f>
              <c:numCache>
                <c:formatCode>General</c:formatCode>
                <c:ptCount val="4"/>
                <c:pt idx="0">
                  <c:v>5.8969936404776995</c:v>
                </c:pt>
                <c:pt idx="1">
                  <c:v>24.935390557643785</c:v>
                </c:pt>
                <c:pt idx="2">
                  <c:v>6.5843049115764991</c:v>
                </c:pt>
                <c:pt idx="3">
                  <c:v>17.7351641136925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CE1-4BA8-9C2A-3386CA4B493E}"/>
            </c:ext>
          </c:extLst>
        </c:ser>
        <c:ser>
          <c:idx val="2"/>
          <c:order val="2"/>
          <c:spPr>
            <a:solidFill>
              <a:srgbClr val="466795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A3C7A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4CE1-4BA8-9C2A-3386CA4B493E}"/>
              </c:ext>
            </c:extLst>
          </c:dPt>
          <c:dPt>
            <c:idx val="3"/>
            <c:invertIfNegative val="0"/>
            <c:bubble3D val="0"/>
            <c:spPr>
              <a:solidFill>
                <a:srgbClr val="A3C7A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4CE1-4BA8-9C2A-3386CA4B493E}"/>
              </c:ext>
            </c:extLst>
          </c:dPt>
          <c:val>
            <c:numRef>
              <c:f>Sheet1!$A$3:$D$3</c:f>
              <c:numCache>
                <c:formatCode>General</c:formatCode>
                <c:ptCount val="4"/>
                <c:pt idx="0">
                  <c:v>77.320373350494918</c:v>
                </c:pt>
                <c:pt idx="1">
                  <c:v>55.327780207031374</c:v>
                </c:pt>
                <c:pt idx="2">
                  <c:v>41.167421949903748</c:v>
                </c:pt>
                <c:pt idx="3">
                  <c:v>20.1048969060493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CE1-4BA8-9C2A-3386CA4B493E}"/>
            </c:ext>
          </c:extLst>
        </c:ser>
        <c:ser>
          <c:idx val="3"/>
          <c:order val="3"/>
          <c:spPr>
            <a:solidFill>
              <a:srgbClr val="46679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4CE1-4BA8-9C2A-3386CA4B493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4CE1-4BA8-9C2A-3386CA4B493E}"/>
              </c:ext>
            </c:extLst>
          </c:dPt>
          <c:val>
            <c:numRef>
              <c:f>Sheet1!$A$4:$D$4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51.124936499580329</c:v>
                </c:pt>
                <c:pt idx="3">
                  <c:v>60.802982663746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4CE1-4BA8-9C2A-3386CA4B49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49295391"/>
        <c:axId val="1"/>
      </c:barChart>
      <c:catAx>
        <c:axId val="6492953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4929539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6652224629228461E-3"/>
          <c:y val="2.2827041264266899E-2"/>
          <c:w val="0.98266955507415432"/>
          <c:h val="0.9543459174714662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466795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3185533.9638888799</c:v>
                </c:pt>
                <c:pt idx="1">
                  <c:v>2498609.2026388799</c:v>
                </c:pt>
                <c:pt idx="2">
                  <c:v>1144092.90527777</c:v>
                </c:pt>
                <c:pt idx="3">
                  <c:v>1731962.45225694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20-408F-A42C-D8DF7EDF9879}"/>
            </c:ext>
          </c:extLst>
        </c:ser>
        <c:ser>
          <c:idx val="1"/>
          <c:order val="1"/>
          <c:spPr>
            <a:solidFill>
              <a:srgbClr val="A3C7A1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1889538.5480902698</c:v>
                </c:pt>
                <c:pt idx="1">
                  <c:v>1404528.1852777698</c:v>
                </c:pt>
                <c:pt idx="2">
                  <c:v>497352.35763888806</c:v>
                </c:pt>
                <c:pt idx="3">
                  <c:v>881122.795243052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920-408F-A42C-D8DF7EDF9879}"/>
            </c:ext>
          </c:extLst>
        </c:ser>
        <c:ser>
          <c:idx val="2"/>
          <c:order val="2"/>
          <c:spPr>
            <a:solidFill>
              <a:srgbClr val="CFB5FF"/>
            </a:solidFill>
            <a:ln>
              <a:noFill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846372.82552083302</c:v>
                </c:pt>
                <c:pt idx="1">
                  <c:v>518598.75083333347</c:v>
                </c:pt>
                <c:pt idx="2">
                  <c:v>207471.23833333305</c:v>
                </c:pt>
                <c:pt idx="3">
                  <c:v>534259.00499999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920-408F-A42C-D8DF7EDF9879}"/>
            </c:ext>
          </c:extLst>
        </c:ser>
        <c:ser>
          <c:idx val="3"/>
          <c:order val="3"/>
          <c:spPr>
            <a:solidFill>
              <a:srgbClr val="F2C037"/>
            </a:solidFill>
            <a:ln>
              <a:noFill/>
            </a:ln>
          </c:spPr>
          <c:invertIfNegative val="0"/>
          <c:val>
            <c:numRef>
              <c:f>Sheet1!$A$4:$D$4</c:f>
              <c:numCache>
                <c:formatCode>General</c:formatCode>
                <c:ptCount val="4"/>
                <c:pt idx="0">
                  <c:v>18231.368749999441</c:v>
                </c:pt>
                <c:pt idx="1">
                  <c:v>67745.361250000075</c:v>
                </c:pt>
                <c:pt idx="2">
                  <c:v>17673.748750000028</c:v>
                </c:pt>
                <c:pt idx="3">
                  <c:v>10611.7462499998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920-408F-A42C-D8DF7EDF98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50805888"/>
        <c:axId val="1"/>
      </c:barChart>
      <c:catAx>
        <c:axId val="205080588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939676.706249982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0508058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8746694870438921E-3"/>
          <c:y val="7.404393816110659E-2"/>
          <c:w val="0.98625066102591219"/>
          <c:h val="0.9048006509357201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66795"/>
            </a:solidFill>
            <a:ln>
              <a:noFill/>
            </a:ln>
          </c:spPr>
          <c:invertIfNegative val="0"/>
          <c:dPt>
            <c:idx val="7"/>
            <c:invertIfNegative val="0"/>
            <c:bubble3D val="0"/>
            <c:spPr>
              <a:solidFill>
                <a:srgbClr val="A3C7A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EC3-45B5-BC9F-D98FCCD7C069}"/>
              </c:ext>
            </c:extLst>
          </c:dPt>
          <c:dPt>
            <c:idx val="8"/>
            <c:invertIfNegative val="0"/>
            <c:bubble3D val="0"/>
            <c:spPr>
              <a:solidFill>
                <a:srgbClr val="A3C7A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EC3-45B5-BC9F-D98FCCD7C069}"/>
              </c:ext>
            </c:extLst>
          </c:dPt>
          <c:val>
            <c:numRef>
              <c:f>Sheet1!$A$1:$L$1</c:f>
              <c:numCache>
                <c:formatCode>General</c:formatCode>
                <c:ptCount val="12"/>
                <c:pt idx="0">
                  <c:v>268423.60125000001</c:v>
                </c:pt>
                <c:pt idx="1">
                  <c:v>135026.5284375</c:v>
                </c:pt>
                <c:pt idx="2">
                  <c:v>372230.5365625</c:v>
                </c:pt>
                <c:pt idx="3">
                  <c:v>588275.90256944404</c:v>
                </c:pt>
                <c:pt idx="4">
                  <c:v>503773.97437499999</c:v>
                </c:pt>
                <c:pt idx="5">
                  <c:v>252325.61083333299</c:v>
                </c:pt>
                <c:pt idx="6">
                  <c:v>434176.71597222198</c:v>
                </c:pt>
                <c:pt idx="7">
                  <c:v>622271.05791666603</c:v>
                </c:pt>
                <c:pt idx="8">
                  <c:v>143347.12</c:v>
                </c:pt>
                <c:pt idx="9">
                  <c:v>124216.99986111101</c:v>
                </c:pt>
                <c:pt idx="10">
                  <c:v>149070.48819444401</c:v>
                </c:pt>
                <c:pt idx="11">
                  <c:v>136934.57458333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EC3-45B5-BC9F-D98FCCD7C069}"/>
            </c:ext>
          </c:extLst>
        </c:ser>
        <c:ser>
          <c:idx val="1"/>
          <c:order val="1"/>
          <c:spPr>
            <a:solidFill>
              <a:srgbClr val="A3C7A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FB5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9EC3-45B5-BC9F-D98FCCD7C069}"/>
              </c:ext>
            </c:extLst>
          </c:dPt>
          <c:dPt>
            <c:idx val="1"/>
            <c:invertIfNegative val="0"/>
            <c:bubble3D val="0"/>
            <c:spPr>
              <a:solidFill>
                <a:srgbClr val="CFB5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9EC3-45B5-BC9F-D98FCCD7C069}"/>
              </c:ext>
            </c:extLst>
          </c:dPt>
          <c:dPt>
            <c:idx val="7"/>
            <c:invertIfNegative val="0"/>
            <c:bubble3D val="0"/>
            <c:spPr>
              <a:solidFill>
                <a:srgbClr val="46679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9EC3-45B5-BC9F-D98FCCD7C069}"/>
              </c:ext>
            </c:extLst>
          </c:dPt>
          <c:dPt>
            <c:idx val="8"/>
            <c:invertIfNegative val="0"/>
            <c:bubble3D val="0"/>
            <c:spPr>
              <a:solidFill>
                <a:srgbClr val="46679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9EC3-45B5-BC9F-D98FCCD7C069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72286.224062499998</c:v>
                </c:pt>
                <c:pt idx="1">
                  <c:v>41902.872812499991</c:v>
                </c:pt>
                <c:pt idx="2">
                  <c:v>156466.26333333302</c:v>
                </c:pt>
                <c:pt idx="3">
                  <c:v>326437.11722222192</c:v>
                </c:pt>
                <c:pt idx="4">
                  <c:v>291069.55645833304</c:v>
                </c:pt>
                <c:pt idx="5">
                  <c:v>86962.306666666584</c:v>
                </c:pt>
                <c:pt idx="6">
                  <c:v>39139.141319444403</c:v>
                </c:pt>
                <c:pt idx="7">
                  <c:v>109749.44750000001</c:v>
                </c:pt>
                <c:pt idx="8">
                  <c:v>111329.583749999</c:v>
                </c:pt>
                <c:pt idx="9">
                  <c:v>74189.381388888796</c:v>
                </c:pt>
                <c:pt idx="10">
                  <c:v>52402.444305555517</c:v>
                </c:pt>
                <c:pt idx="11">
                  <c:v>27006.838541666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EC3-45B5-BC9F-D98FCCD7C069}"/>
            </c:ext>
          </c:extLst>
        </c:ser>
        <c:ser>
          <c:idx val="2"/>
          <c:order val="2"/>
          <c:spPr>
            <a:solidFill>
              <a:srgbClr val="CFB5FF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A3C7A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9EC3-45B5-BC9F-D98FCCD7C069}"/>
              </c:ext>
            </c:extLst>
          </c:dPt>
          <c:dPt>
            <c:idx val="1"/>
            <c:invertIfNegative val="0"/>
            <c:bubble3D val="0"/>
            <c:spPr>
              <a:solidFill>
                <a:srgbClr val="A3C7A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9EC3-45B5-BC9F-D98FCCD7C069}"/>
              </c:ext>
            </c:extLst>
          </c:dPt>
          <c:val>
            <c:numRef>
              <c:f>Sheet1!$A$3:$L$3</c:f>
              <c:numCache>
                <c:formatCode>General</c:formatCode>
                <c:ptCount val="12"/>
                <c:pt idx="0">
                  <c:v>29856.008437499986</c:v>
                </c:pt>
                <c:pt idx="1">
                  <c:v>40391.3125</c:v>
                </c:pt>
                <c:pt idx="2">
                  <c:v>110864.41260416596</c:v>
                </c:pt>
                <c:pt idx="3">
                  <c:v>265887.40645833313</c:v>
                </c:pt>
                <c:pt idx="4">
                  <c:v>167308.08791666594</c:v>
                </c:pt>
                <c:pt idx="5">
                  <c:v>44340.922499999986</c:v>
                </c:pt>
                <c:pt idx="6">
                  <c:v>21920.212708333274</c:v>
                </c:pt>
                <c:pt idx="7">
                  <c:v>17745.609583333251</c:v>
                </c:pt>
                <c:pt idx="8">
                  <c:v>18878.492499999877</c:v>
                </c:pt>
                <c:pt idx="9">
                  <c:v>39681.276249999995</c:v>
                </c:pt>
                <c:pt idx="10">
                  <c:v>29353.205000000016</c:v>
                </c:pt>
                <c:pt idx="11">
                  <c:v>16204.103124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EC3-45B5-BC9F-D98FCCD7C069}"/>
            </c:ext>
          </c:extLst>
        </c:ser>
        <c:ser>
          <c:idx val="3"/>
          <c:order val="3"/>
          <c:spPr>
            <a:solidFill>
              <a:srgbClr val="F2C037"/>
            </a:solidFill>
            <a:ln>
              <a:noFill/>
            </a:ln>
          </c:spPr>
          <c:invertIfNegative val="0"/>
          <c:val>
            <c:numRef>
              <c:f>Sheet1!$A$4:$L$4</c:f>
              <c:numCache>
                <c:formatCode>General</c:formatCode>
                <c:ptCount val="12"/>
                <c:pt idx="9">
                  <c:v>18231.3687499999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EC3-45B5-BC9F-D98FCCD7C0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25934480"/>
        <c:axId val="1"/>
      </c:barChart>
      <c:lineChart>
        <c:grouping val="standard"/>
        <c:varyColors val="0"/>
        <c:ser>
          <c:idx val="4"/>
          <c:order val="4"/>
          <c:spPr>
            <a:ln w="28575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4.109031733116354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9EC3-45B5-BC9F-D98FCCD7C069}"/>
                </c:ext>
              </c:extLst>
            </c:dLbl>
            <c:dLbl>
              <c:idx val="3"/>
              <c:layout>
                <c:manualLayout>
                  <c:x val="0"/>
                  <c:y val="-4.109031733116354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9EC3-45B5-BC9F-D98FCCD7C069}"/>
                </c:ext>
              </c:extLst>
            </c:dLbl>
            <c:dLbl>
              <c:idx val="6"/>
              <c:layout>
                <c:manualLayout>
                  <c:x val="0"/>
                  <c:y val="-4.109031733116354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9EC3-45B5-BC9F-D98FCCD7C069}"/>
                </c:ext>
              </c:extLst>
            </c:dLbl>
            <c:dLbl>
              <c:idx val="7"/>
              <c:layout>
                <c:manualLayout>
                  <c:x val="0"/>
                  <c:y val="-4.109031733116354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9EC3-45B5-BC9F-D98FCCD7C069}"/>
                </c:ext>
              </c:extLst>
            </c:dLbl>
            <c:dLbl>
              <c:idx val="9"/>
              <c:layout>
                <c:manualLayout>
                  <c:x val="0"/>
                  <c:y val="-4.109031733116354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9EC3-45B5-BC9F-D98FCCD7C069}"/>
                </c:ext>
              </c:extLst>
            </c:dLbl>
            <c:dLbl>
              <c:idx val="10"/>
              <c:layout>
                <c:manualLayout>
                  <c:x val="0"/>
                  <c:y val="-4.109031733116354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9EC3-45B5-BC9F-D98FCCD7C06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L$5</c:f>
              <c:numCache>
                <c:formatCode>General</c:formatCode>
                <c:ptCount val="12"/>
                <c:pt idx="0">
                  <c:v>100216</c:v>
                </c:pt>
                <c:pt idx="1">
                  <c:v>81862</c:v>
                </c:pt>
                <c:pt idx="2">
                  <c:v>121335</c:v>
                </c:pt>
                <c:pt idx="3">
                  <c:v>174624</c:v>
                </c:pt>
                <c:pt idx="4">
                  <c:v>152961</c:v>
                </c:pt>
                <c:pt idx="5">
                  <c:v>91047</c:v>
                </c:pt>
                <c:pt idx="6">
                  <c:v>87838</c:v>
                </c:pt>
                <c:pt idx="7">
                  <c:v>94337</c:v>
                </c:pt>
                <c:pt idx="8">
                  <c:v>71446</c:v>
                </c:pt>
                <c:pt idx="9">
                  <c:v>115689</c:v>
                </c:pt>
                <c:pt idx="10">
                  <c:v>96607</c:v>
                </c:pt>
                <c:pt idx="11">
                  <c:v>698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9EC3-45B5-BC9F-D98FCCD7C0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21259344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2125934480"/>
        <c:crosses val="min"/>
        <c:crossBetween val="between"/>
      </c:valAx>
      <c:valAx>
        <c:axId val="2"/>
        <c:scaling>
          <c:orientation val="minMax"/>
          <c:max val="174624"/>
          <c:min val="-10000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3"/>
        <c:crosses val="max"/>
        <c:crossBetween val="between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980014803848997E-3"/>
          <c:y val="2.8477546549835708E-2"/>
          <c:w val="0.98460399703923018"/>
          <c:h val="0.9430449069003286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A3C7A1"/>
            </a:solidFill>
            <a:ln>
              <a:noFill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1167</c:v>
                </c:pt>
                <c:pt idx="1">
                  <c:v>64</c:v>
                </c:pt>
                <c:pt idx="2">
                  <c:v>141</c:v>
                </c:pt>
                <c:pt idx="3">
                  <c:v>86</c:v>
                </c:pt>
                <c:pt idx="4">
                  <c:v>26</c:v>
                </c:pt>
                <c:pt idx="5">
                  <c:v>116</c:v>
                </c:pt>
                <c:pt idx="6">
                  <c:v>74</c:v>
                </c:pt>
                <c:pt idx="7">
                  <c:v>81</c:v>
                </c:pt>
                <c:pt idx="8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04-4942-B693-27537731704B}"/>
            </c:ext>
          </c:extLst>
        </c:ser>
        <c:ser>
          <c:idx val="1"/>
          <c:order val="1"/>
          <c:spPr>
            <a:solidFill>
              <a:srgbClr val="EA4E58"/>
            </a:solidFill>
            <a:ln>
              <a:noFill/>
            </a:ln>
          </c:spPr>
          <c:invertIfNegative val="0"/>
          <c:val>
            <c:numRef>
              <c:f>Sheet1!$A$2:$I$2</c:f>
              <c:numCache>
                <c:formatCode>General</c:formatCode>
                <c:ptCount val="9"/>
                <c:pt idx="0">
                  <c:v>1945</c:v>
                </c:pt>
                <c:pt idx="1">
                  <c:v>697</c:v>
                </c:pt>
                <c:pt idx="2">
                  <c:v>504</c:v>
                </c:pt>
                <c:pt idx="3">
                  <c:v>457</c:v>
                </c:pt>
                <c:pt idx="4">
                  <c:v>503</c:v>
                </c:pt>
                <c:pt idx="5">
                  <c:v>232</c:v>
                </c:pt>
                <c:pt idx="6">
                  <c:v>121</c:v>
                </c:pt>
                <c:pt idx="7">
                  <c:v>98</c:v>
                </c:pt>
                <c:pt idx="8">
                  <c:v>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004-4942-B693-2753773170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45669376"/>
        <c:axId val="1"/>
      </c:barChart>
      <c:catAx>
        <c:axId val="20456693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11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456693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868106215348698E-3"/>
          <c:y val="2.9782359679266894E-2"/>
          <c:w val="0.98482637875693024"/>
          <c:h val="0.940435280641466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7CBBCE"/>
            </a:solidFill>
            <a:ln>
              <a:noFill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108063.0496</c:v>
                </c:pt>
                <c:pt idx="1">
                  <c:v>89524.846400000009</c:v>
                </c:pt>
                <c:pt idx="2">
                  <c:v>79606.049599999998</c:v>
                </c:pt>
                <c:pt idx="3">
                  <c:v>651106.66720000003</c:v>
                </c:pt>
                <c:pt idx="4">
                  <c:v>187185.76800000001</c:v>
                </c:pt>
                <c:pt idx="5">
                  <c:v>136709.17920000001</c:v>
                </c:pt>
                <c:pt idx="6">
                  <c:v>1506925.112</c:v>
                </c:pt>
                <c:pt idx="7">
                  <c:v>199959.0208</c:v>
                </c:pt>
                <c:pt idx="8">
                  <c:v>155369.9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F5-4FE8-92B2-7E9DA4D25003}"/>
            </c:ext>
          </c:extLst>
        </c:ser>
        <c:ser>
          <c:idx val="1"/>
          <c:order val="1"/>
          <c:spPr>
            <a:solidFill>
              <a:srgbClr val="E1A7AF"/>
            </a:solidFill>
            <a:ln>
              <a:noFill/>
            </a:ln>
          </c:spPr>
          <c:invertIfNegative val="0"/>
          <c:val>
            <c:numRef>
              <c:f>Sheet1!$A$2:$I$2</c:f>
              <c:numCache>
                <c:formatCode>General</c:formatCode>
                <c:ptCount val="9"/>
                <c:pt idx="0">
                  <c:v>33370.867200000008</c:v>
                </c:pt>
                <c:pt idx="1">
                  <c:v>26345.052800000005</c:v>
                </c:pt>
                <c:pt idx="2">
                  <c:v>22492.412800000006</c:v>
                </c:pt>
                <c:pt idx="3">
                  <c:v>177508.63679999998</c:v>
                </c:pt>
                <c:pt idx="4">
                  <c:v>50949.41280000002</c:v>
                </c:pt>
                <c:pt idx="5">
                  <c:v>26159.425600000017</c:v>
                </c:pt>
                <c:pt idx="6">
                  <c:v>265492.42720000003</c:v>
                </c:pt>
                <c:pt idx="7">
                  <c:v>21686.860799999995</c:v>
                </c:pt>
                <c:pt idx="8">
                  <c:v>10615.7743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6F5-4FE8-92B2-7E9DA4D250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36047168"/>
        <c:axId val="1"/>
      </c:barChart>
      <c:catAx>
        <c:axId val="21360471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72417.539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360471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835036098624163E-3"/>
          <c:y val="2.5552825552825554E-2"/>
          <c:w val="0.98583299278027514"/>
          <c:h val="0.9488943488943488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2C037"/>
            </a:solidFill>
            <a:ln>
              <a:noFill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482086.40000000002</c:v>
                </c:pt>
                <c:pt idx="1">
                  <c:v>43920</c:v>
                </c:pt>
                <c:pt idx="2">
                  <c:v>49059.199999999997</c:v>
                </c:pt>
                <c:pt idx="3">
                  <c:v>178908.79999999999</c:v>
                </c:pt>
                <c:pt idx="4">
                  <c:v>83193.600000000006</c:v>
                </c:pt>
                <c:pt idx="5">
                  <c:v>37683.199999999997</c:v>
                </c:pt>
                <c:pt idx="6">
                  <c:v>38208</c:v>
                </c:pt>
                <c:pt idx="7">
                  <c:v>18867.2</c:v>
                </c:pt>
                <c:pt idx="8">
                  <c:v>203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BD-4E05-9020-98573D7221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91319472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rgbClr val="633758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633758"/>
                </a:solidFill>
                <a:ln w="9525" algn="ctr">
                  <a:solidFill>
                    <a:srgbClr val="63375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CABD-4E05-9020-98573D7221B7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633758"/>
                </a:solidFill>
                <a:ln w="9525" algn="ctr">
                  <a:solidFill>
                    <a:srgbClr val="63375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ABD-4E05-9020-98573D7221B7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633758"/>
                </a:solidFill>
                <a:ln w="9525" algn="ctr">
                  <a:solidFill>
                    <a:srgbClr val="63375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CABD-4E05-9020-98573D7221B7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633758"/>
                </a:solidFill>
                <a:ln w="9525" algn="ctr">
                  <a:solidFill>
                    <a:srgbClr val="63375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CABD-4E05-9020-98573D7221B7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633758"/>
                </a:solidFill>
                <a:ln w="9525" algn="ctr">
                  <a:solidFill>
                    <a:srgbClr val="63375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CABD-4E05-9020-98573D7221B7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633758"/>
                </a:solidFill>
                <a:ln w="9525" algn="ctr">
                  <a:solidFill>
                    <a:srgbClr val="63375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CABD-4E05-9020-98573D7221B7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633758"/>
                </a:solidFill>
                <a:ln w="9525" algn="ctr">
                  <a:solidFill>
                    <a:srgbClr val="63375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CABD-4E05-9020-98573D7221B7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633758"/>
                </a:solidFill>
                <a:ln w="9525" algn="ctr">
                  <a:solidFill>
                    <a:srgbClr val="63375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CABD-4E05-9020-98573D7221B7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633758"/>
                </a:solidFill>
                <a:ln w="9525" algn="ctr">
                  <a:solidFill>
                    <a:srgbClr val="633758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CABD-4E05-9020-98573D7221B7}"/>
              </c:ext>
            </c:extLst>
          </c:dPt>
          <c:val>
            <c:numRef>
              <c:f>Sheet1!$A$2:$I$2</c:f>
              <c:numCache>
                <c:formatCode>General</c:formatCode>
                <c:ptCount val="9"/>
                <c:pt idx="0">
                  <c:v>13.81</c:v>
                </c:pt>
                <c:pt idx="1">
                  <c:v>12.01</c:v>
                </c:pt>
                <c:pt idx="2">
                  <c:v>11.87</c:v>
                </c:pt>
                <c:pt idx="3">
                  <c:v>10.65</c:v>
                </c:pt>
                <c:pt idx="4">
                  <c:v>8.3800000000000008</c:v>
                </c:pt>
                <c:pt idx="5">
                  <c:v>7.99</c:v>
                </c:pt>
                <c:pt idx="6">
                  <c:v>7.0900000000000007</c:v>
                </c:pt>
                <c:pt idx="7">
                  <c:v>6.11</c:v>
                </c:pt>
                <c:pt idx="8">
                  <c:v>3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CABD-4E05-9020-98573D7221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15913194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1591319472"/>
        <c:crosses val="min"/>
        <c:crossBetween val="between"/>
      </c:valAx>
      <c:valAx>
        <c:axId val="2"/>
        <c:scaling>
          <c:orientation val="minMax"/>
          <c:max val="16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3"/>
        <c:crosses val="max"/>
        <c:crossBetween val="between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835036098624163E-3"/>
          <c:y val="2.5552825552825554E-2"/>
          <c:w val="0.98583299278027514"/>
          <c:h val="0.9488943488943488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55773955773955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C97-4FC3-A69F-71C5A9C8B549}"/>
                </c:ext>
              </c:extLst>
            </c:dLbl>
            <c:dLbl>
              <c:idx val="1"/>
              <c:layout>
                <c:manualLayout>
                  <c:x val="0"/>
                  <c:y val="-0.1498771498771498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C97-4FC3-A69F-71C5A9C8B549}"/>
                </c:ext>
              </c:extLst>
            </c:dLbl>
            <c:dLbl>
              <c:idx val="2"/>
              <c:layout>
                <c:manualLayout>
                  <c:x val="0"/>
                  <c:y val="-0.1346437346437346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C97-4FC3-A69F-71C5A9C8B549}"/>
                </c:ext>
              </c:extLst>
            </c:dLbl>
            <c:dLbl>
              <c:idx val="3"/>
              <c:layout>
                <c:manualLayout>
                  <c:x val="0"/>
                  <c:y val="-0.1223587223587223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C97-4FC3-A69F-71C5A9C8B549}"/>
                </c:ext>
              </c:extLst>
            </c:dLbl>
            <c:dLbl>
              <c:idx val="4"/>
              <c:layout>
                <c:manualLayout>
                  <c:x val="0"/>
                  <c:y val="-0.1203931203931203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C97-4FC3-A69F-71C5A9C8B549}"/>
                </c:ext>
              </c:extLst>
            </c:dLbl>
            <c:dLbl>
              <c:idx val="5"/>
              <c:layout>
                <c:manualLayout>
                  <c:x val="0"/>
                  <c:y val="-0.1071253071253071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C97-4FC3-A69F-71C5A9C8B549}"/>
                </c:ext>
              </c:extLst>
            </c:dLbl>
            <c:dLbl>
              <c:idx val="6"/>
              <c:layout>
                <c:manualLayout>
                  <c:x val="0"/>
                  <c:y val="-0.1007371007371007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C97-4FC3-A69F-71C5A9C8B549}"/>
                </c:ext>
              </c:extLst>
            </c:dLbl>
            <c:dLbl>
              <c:idx val="7"/>
              <c:layout>
                <c:manualLayout>
                  <c:x val="0"/>
                  <c:y val="-9.975429975429975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C97-4FC3-A69F-71C5A9C8B549}"/>
                </c:ext>
              </c:extLst>
            </c:dLbl>
            <c:dLbl>
              <c:idx val="8"/>
              <c:layout>
                <c:manualLayout>
                  <c:x val="0"/>
                  <c:y val="-9.385749385749385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C97-4FC3-A69F-71C5A9C8B54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3670.59</c:v>
                </c:pt>
                <c:pt idx="1">
                  <c:v>3499.01</c:v>
                </c:pt>
                <c:pt idx="2">
                  <c:v>3023.55</c:v>
                </c:pt>
                <c:pt idx="3">
                  <c:v>2623.28</c:v>
                </c:pt>
                <c:pt idx="4">
                  <c:v>2553.7600000000002</c:v>
                </c:pt>
                <c:pt idx="5">
                  <c:v>2154.77</c:v>
                </c:pt>
                <c:pt idx="6">
                  <c:v>1941.49</c:v>
                </c:pt>
                <c:pt idx="7">
                  <c:v>1914.14</c:v>
                </c:pt>
                <c:pt idx="8">
                  <c:v>1714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FC97-4FC3-A69F-71C5A9C8B5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36045920"/>
        <c:axId val="1"/>
      </c:barChart>
      <c:lineChart>
        <c:grouping val="standard"/>
        <c:varyColors val="0"/>
        <c:ser>
          <c:idx val="1"/>
          <c:order val="1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square"/>
              <c:size val="10"/>
              <c:spPr>
                <a:solidFill>
                  <a:schemeClr val="tx2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FC97-4FC3-A69F-71C5A9C8B549}"/>
              </c:ext>
            </c:extLst>
          </c:dPt>
          <c:dPt>
            <c:idx val="1"/>
            <c:marker>
              <c:symbol val="square"/>
              <c:size val="10"/>
              <c:spPr>
                <a:solidFill>
                  <a:schemeClr val="tx2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FC97-4FC3-A69F-71C5A9C8B549}"/>
              </c:ext>
            </c:extLst>
          </c:dPt>
          <c:dPt>
            <c:idx val="2"/>
            <c:marker>
              <c:symbol val="square"/>
              <c:size val="10"/>
              <c:spPr>
                <a:solidFill>
                  <a:schemeClr val="tx2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FC97-4FC3-A69F-71C5A9C8B549}"/>
              </c:ext>
            </c:extLst>
          </c:dPt>
          <c:dPt>
            <c:idx val="3"/>
            <c:marker>
              <c:symbol val="square"/>
              <c:size val="10"/>
              <c:spPr>
                <a:solidFill>
                  <a:schemeClr val="tx2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FC97-4FC3-A69F-71C5A9C8B549}"/>
              </c:ext>
            </c:extLst>
          </c:dPt>
          <c:dPt>
            <c:idx val="4"/>
            <c:marker>
              <c:symbol val="square"/>
              <c:size val="10"/>
              <c:spPr>
                <a:solidFill>
                  <a:schemeClr val="tx2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FC97-4FC3-A69F-71C5A9C8B549}"/>
              </c:ext>
            </c:extLst>
          </c:dPt>
          <c:dPt>
            <c:idx val="5"/>
            <c:marker>
              <c:symbol val="square"/>
              <c:size val="10"/>
              <c:spPr>
                <a:solidFill>
                  <a:schemeClr val="tx2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FC97-4FC3-A69F-71C5A9C8B549}"/>
              </c:ext>
            </c:extLst>
          </c:dPt>
          <c:dPt>
            <c:idx val="6"/>
            <c:marker>
              <c:symbol val="square"/>
              <c:size val="10"/>
              <c:spPr>
                <a:solidFill>
                  <a:schemeClr val="tx2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FC97-4FC3-A69F-71C5A9C8B549}"/>
              </c:ext>
            </c:extLst>
          </c:dPt>
          <c:dPt>
            <c:idx val="7"/>
            <c:marker>
              <c:symbol val="square"/>
              <c:size val="10"/>
              <c:spPr>
                <a:solidFill>
                  <a:schemeClr val="tx2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FC97-4FC3-A69F-71C5A9C8B549}"/>
              </c:ext>
            </c:extLst>
          </c:dPt>
          <c:dPt>
            <c:idx val="8"/>
            <c:marker>
              <c:symbol val="square"/>
              <c:size val="10"/>
              <c:spPr>
                <a:solidFill>
                  <a:schemeClr val="tx2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FC97-4FC3-A69F-71C5A9C8B549}"/>
              </c:ext>
            </c:extLst>
          </c:dPt>
          <c:dLbls>
            <c:dLbl>
              <c:idx val="0"/>
              <c:layout>
                <c:manualLayout>
                  <c:x val="0"/>
                  <c:y val="-7.076167076167076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FC97-4FC3-A69F-71C5A9C8B549}"/>
                </c:ext>
              </c:extLst>
            </c:dLbl>
            <c:dLbl>
              <c:idx val="1"/>
              <c:layout>
                <c:manualLayout>
                  <c:x val="0"/>
                  <c:y val="-7.076167076167076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FC97-4FC3-A69F-71C5A9C8B549}"/>
                </c:ext>
              </c:extLst>
            </c:dLbl>
            <c:dLbl>
              <c:idx val="2"/>
              <c:layout>
                <c:manualLayout>
                  <c:x val="0"/>
                  <c:y val="-7.076167076167076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FC97-4FC3-A69F-71C5A9C8B549}"/>
                </c:ext>
              </c:extLst>
            </c:dLbl>
            <c:dLbl>
              <c:idx val="3"/>
              <c:layout>
                <c:manualLayout>
                  <c:x val="0"/>
                  <c:y val="-7.076167076167076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FC97-4FC3-A69F-71C5A9C8B549}"/>
                </c:ext>
              </c:extLst>
            </c:dLbl>
            <c:dLbl>
              <c:idx val="4"/>
              <c:layout>
                <c:manualLayout>
                  <c:x val="0"/>
                  <c:y val="-7.076167076167076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FC97-4FC3-A69F-71C5A9C8B549}"/>
                </c:ext>
              </c:extLst>
            </c:dLbl>
            <c:dLbl>
              <c:idx val="5"/>
              <c:layout>
                <c:manualLayout>
                  <c:x val="0"/>
                  <c:y val="-7.076167076167076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FC97-4FC3-A69F-71C5A9C8B549}"/>
                </c:ext>
              </c:extLst>
            </c:dLbl>
            <c:dLbl>
              <c:idx val="6"/>
              <c:layout>
                <c:manualLayout>
                  <c:x val="0"/>
                  <c:y val="-7.076167076167076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FC97-4FC3-A69F-71C5A9C8B549}"/>
                </c:ext>
              </c:extLst>
            </c:dLbl>
            <c:dLbl>
              <c:idx val="7"/>
              <c:layout>
                <c:manualLayout>
                  <c:x val="0"/>
                  <c:y val="-7.076167076167076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FC97-4FC3-A69F-71C5A9C8B549}"/>
                </c:ext>
              </c:extLst>
            </c:dLbl>
            <c:dLbl>
              <c:idx val="8"/>
              <c:layout>
                <c:manualLayout>
                  <c:x val="0"/>
                  <c:y val="-7.076167076167076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FC97-4FC3-A69F-71C5A9C8B54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66585.600000000006</c:v>
                </c:pt>
                <c:pt idx="1">
                  <c:v>19049.600000000002</c:v>
                </c:pt>
                <c:pt idx="2">
                  <c:v>5276.8</c:v>
                </c:pt>
                <c:pt idx="3">
                  <c:v>6972.8</c:v>
                </c:pt>
                <c:pt idx="4">
                  <c:v>771.2</c:v>
                </c:pt>
                <c:pt idx="5">
                  <c:v>5824</c:v>
                </c:pt>
                <c:pt idx="6">
                  <c:v>1152</c:v>
                </c:pt>
                <c:pt idx="7">
                  <c:v>2707.2000000000003</c:v>
                </c:pt>
                <c:pt idx="8">
                  <c:v>3011.2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FC97-4FC3-A69F-71C5A9C8B5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21360459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2136045920"/>
        <c:crosses val="min"/>
        <c:crossBetween val="between"/>
      </c:valAx>
      <c:valAx>
        <c:axId val="2"/>
        <c:scaling>
          <c:orientation val="minMax"/>
          <c:max val="80000"/>
          <c:min val="-3500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3"/>
        <c:crosses val="max"/>
        <c:crossBetween val="between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D95D3E-9AC0-4B15-95A0-E7F853F0BF62}" type="datetimeFigureOut">
              <a:rPr lang="pt-BR" smtClean="0"/>
              <a:t>08/02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C042B2-EE94-48A6-BC96-E85501CDF23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941408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C042B2-EE94-48A6-BC96-E85501CDF231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437854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BA0F59-BEB4-DAA2-07E2-128725A8F2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F4E95B11-5465-714E-16FB-8A2CA5D0EC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E96F231-4227-3F82-C6EE-85C3774533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3869A-6149-4A7C-9A12-514424A56C22}" type="datetimeFigureOut">
              <a:rPr lang="pt-BR" smtClean="0"/>
              <a:t>08/02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E106E7A-F40A-4E3F-F631-280D105AFF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DA9AA83-7170-3816-B6E5-6BB81A1D84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274349-787C-4F69-8D85-EDE653F3E90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37984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B9B02D-1468-B7A6-6DEE-D1CE253CE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FDB559E-7A2C-C355-7493-5E6B010D48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9558587-37BB-10DD-B8B9-A4E964044E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3869A-6149-4A7C-9A12-514424A56C22}" type="datetimeFigureOut">
              <a:rPr lang="pt-BR" smtClean="0"/>
              <a:t>08/02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95BD87A-4A9E-1EDC-8224-2F12B1FD7C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C86A84F-5DA2-38E1-DF9B-00C940485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274349-787C-4F69-8D85-EDE653F3E90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250665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3465FD04-79FE-0A5C-9122-16B78BAD30D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DB10822B-689B-7BD7-432F-3D2C8C63A2F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A057CF9-938B-C47B-7982-09DD9CED5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3869A-6149-4A7C-9A12-514424A56C22}" type="datetimeFigureOut">
              <a:rPr lang="pt-BR" smtClean="0"/>
              <a:t>08/02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CE9BE62-21FE-611A-6A08-6EC4A64C88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01A0523-7847-1C22-6E99-E6974E1ED3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274349-787C-4F69-8D85-EDE653F3E90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733648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ECDD2C6-320E-B108-F14F-030DC13C4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8046686-B1F6-9D6B-9489-EC9991E5B9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0AB5B2A-DFE7-E334-5ECB-A0F85C681C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3869A-6149-4A7C-9A12-514424A56C22}" type="datetimeFigureOut">
              <a:rPr lang="pt-BR" smtClean="0"/>
              <a:t>08/02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84FAC27-39A7-4784-656A-7DA4E06113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76996C5-DAEB-73BB-EDDD-27F61A815E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274349-787C-4F69-8D85-EDE653F3E90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060026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0C80802-7E48-05E5-CA46-A921E9062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5FB42B4-E821-8D21-AE3F-A5B1AC76B8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8CE1176-6B47-DC79-516A-4149A01563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3869A-6149-4A7C-9A12-514424A56C22}" type="datetimeFigureOut">
              <a:rPr lang="pt-BR" smtClean="0"/>
              <a:t>08/02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041916A-4246-EA91-FB19-2446CB853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9003830-54E3-1C42-03C4-24A9684EF2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274349-787C-4F69-8D85-EDE653F3E90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99337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FC67E7B-8758-E2CB-135A-6D76AF301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78246CF-6873-A0CB-31B6-503ADC8560B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4D58ED7-712C-B9F8-538B-8F74796AA7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1F2C45E-648B-9365-1955-7D592C6DE5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3869A-6149-4A7C-9A12-514424A56C22}" type="datetimeFigureOut">
              <a:rPr lang="pt-BR" smtClean="0"/>
              <a:t>08/02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0F1D4E60-B7C0-4628-D15D-9D119D0C05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03EECDBA-33AD-DB0D-3EBF-A5E17D6EF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274349-787C-4F69-8D85-EDE653F3E90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37361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D4D9E66-04FD-359A-53D2-3F81E57943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9C4C373-227A-D7A9-018E-CA74AD6148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45AC4BAF-FB74-743E-FEFA-071E28885A3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10369787-85E3-6009-6835-78E566CB89D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C7C0937F-397D-3BD2-EE50-8FB987C827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CE386B07-2396-4DCA-26E8-FCC43D2300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3869A-6149-4A7C-9A12-514424A56C22}" type="datetimeFigureOut">
              <a:rPr lang="pt-BR" smtClean="0"/>
              <a:t>08/02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7C4F8551-831B-DB65-82C9-5770AF4722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CE7DAB0E-FD7E-91EA-C58B-BC85C834B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274349-787C-4F69-8D85-EDE653F3E90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8825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377C879-76CE-5618-891A-0B59458C4C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1B5C949D-C661-3FA8-A822-105A6AFDB7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3869A-6149-4A7C-9A12-514424A56C22}" type="datetimeFigureOut">
              <a:rPr lang="pt-BR" smtClean="0"/>
              <a:t>08/02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FC90B615-3000-B78C-A9F5-D14D2A2F2B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6BC7D7C8-DF92-6A1E-CF3D-16DDFAEB88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274349-787C-4F69-8D85-EDE653F3E90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752000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8260F5A4-ACB5-4EA6-CAFE-DA583A3680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3869A-6149-4A7C-9A12-514424A56C22}" type="datetimeFigureOut">
              <a:rPr lang="pt-BR" smtClean="0"/>
              <a:t>08/02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5093369C-E0FD-F3F0-2C78-523F4ADCEB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B20AA063-E423-E53D-0845-9789C2956D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274349-787C-4F69-8D85-EDE653F3E90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38924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83E359B-18C3-7E17-5504-A64331893F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56F07E8-F547-A2DC-9404-961CCB48B1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96F48D93-C53C-E4AF-9F78-D51A848795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2BC8A02-355D-7158-D3B7-E8755B3E4A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3869A-6149-4A7C-9A12-514424A56C22}" type="datetimeFigureOut">
              <a:rPr lang="pt-BR" smtClean="0"/>
              <a:t>08/02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AB843CC-8DF9-C961-135A-389F8B74E8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25D0173-4C67-ABBF-D118-C1A4FB56A5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274349-787C-4F69-8D85-EDE653F3E90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612346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F3639F-C1BE-B46E-DB97-AC07D89C30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7FF9D7B1-730B-448A-5E99-C3A567DF386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9AFA3BAB-9A8B-47B7-4B89-613F8101D8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AB19E7F-422C-3E60-1ACE-D6D590DB05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3869A-6149-4A7C-9A12-514424A56C22}" type="datetimeFigureOut">
              <a:rPr lang="pt-BR" smtClean="0"/>
              <a:t>08/02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F1A263D9-8E39-25DB-6A1C-ACA35AE678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A063CF36-564D-74CA-6756-1DB3841377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274349-787C-4F69-8D85-EDE653F3E90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192262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669EF885-F32C-70F5-3F82-1BB5CA5ADB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11114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421" imgH="420" progId="TCLayout.ActiveDocument.1">
                  <p:embed/>
                </p:oleObj>
              </mc:Choice>
              <mc:Fallback>
                <p:oleObj name="Slide do think-cell" r:id="rId1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33C59C21-621B-2A81-6A5F-CB94B92D32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9DD53E9-21BC-44F9-7F47-A25AE2EA771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D3869A-6149-4A7C-9A12-514424A56C22}" type="datetimeFigureOut">
              <a:rPr lang="pt-BR" smtClean="0"/>
              <a:t>08/02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194147E-0657-28CF-64DB-9044A2571F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D0241FC-213F-311F-F8CC-83D40102A2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274349-787C-4F69-8D85-EDE653F3E90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9123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137.xml"/><Relationship Id="rId21" Type="http://schemas.openxmlformats.org/officeDocument/2006/relationships/tags" Target="../tags/tag132.xml"/><Relationship Id="rId42" Type="http://schemas.openxmlformats.org/officeDocument/2006/relationships/tags" Target="../tags/tag153.xml"/><Relationship Id="rId47" Type="http://schemas.openxmlformats.org/officeDocument/2006/relationships/tags" Target="../tags/tag158.xml"/><Relationship Id="rId63" Type="http://schemas.openxmlformats.org/officeDocument/2006/relationships/tags" Target="../tags/tag174.xml"/><Relationship Id="rId68" Type="http://schemas.openxmlformats.org/officeDocument/2006/relationships/tags" Target="../tags/tag179.xml"/><Relationship Id="rId84" Type="http://schemas.openxmlformats.org/officeDocument/2006/relationships/tags" Target="../tags/tag195.xml"/><Relationship Id="rId89" Type="http://schemas.openxmlformats.org/officeDocument/2006/relationships/image" Target="../media/image1.emf"/><Relationship Id="rId16" Type="http://schemas.openxmlformats.org/officeDocument/2006/relationships/tags" Target="../tags/tag127.xml"/><Relationship Id="rId11" Type="http://schemas.openxmlformats.org/officeDocument/2006/relationships/tags" Target="../tags/tag122.xml"/><Relationship Id="rId32" Type="http://schemas.openxmlformats.org/officeDocument/2006/relationships/tags" Target="../tags/tag143.xml"/><Relationship Id="rId37" Type="http://schemas.openxmlformats.org/officeDocument/2006/relationships/tags" Target="../tags/tag148.xml"/><Relationship Id="rId53" Type="http://schemas.openxmlformats.org/officeDocument/2006/relationships/tags" Target="../tags/tag164.xml"/><Relationship Id="rId58" Type="http://schemas.openxmlformats.org/officeDocument/2006/relationships/tags" Target="../tags/tag169.xml"/><Relationship Id="rId74" Type="http://schemas.openxmlformats.org/officeDocument/2006/relationships/tags" Target="../tags/tag185.xml"/><Relationship Id="rId79" Type="http://schemas.openxmlformats.org/officeDocument/2006/relationships/tags" Target="../tags/tag190.xml"/><Relationship Id="rId5" Type="http://schemas.openxmlformats.org/officeDocument/2006/relationships/tags" Target="../tags/tag116.xml"/><Relationship Id="rId90" Type="http://schemas.openxmlformats.org/officeDocument/2006/relationships/chart" Target="../charts/chart4.xml"/><Relationship Id="rId14" Type="http://schemas.openxmlformats.org/officeDocument/2006/relationships/tags" Target="../tags/tag125.xml"/><Relationship Id="rId22" Type="http://schemas.openxmlformats.org/officeDocument/2006/relationships/tags" Target="../tags/tag133.xml"/><Relationship Id="rId27" Type="http://schemas.openxmlformats.org/officeDocument/2006/relationships/tags" Target="../tags/tag138.xml"/><Relationship Id="rId30" Type="http://schemas.openxmlformats.org/officeDocument/2006/relationships/tags" Target="../tags/tag141.xml"/><Relationship Id="rId35" Type="http://schemas.openxmlformats.org/officeDocument/2006/relationships/tags" Target="../tags/tag146.xml"/><Relationship Id="rId43" Type="http://schemas.openxmlformats.org/officeDocument/2006/relationships/tags" Target="../tags/tag154.xml"/><Relationship Id="rId48" Type="http://schemas.openxmlformats.org/officeDocument/2006/relationships/tags" Target="../tags/tag159.xml"/><Relationship Id="rId56" Type="http://schemas.openxmlformats.org/officeDocument/2006/relationships/tags" Target="../tags/tag167.xml"/><Relationship Id="rId64" Type="http://schemas.openxmlformats.org/officeDocument/2006/relationships/tags" Target="../tags/tag175.xml"/><Relationship Id="rId69" Type="http://schemas.openxmlformats.org/officeDocument/2006/relationships/tags" Target="../tags/tag180.xml"/><Relationship Id="rId77" Type="http://schemas.openxmlformats.org/officeDocument/2006/relationships/tags" Target="../tags/tag188.xml"/><Relationship Id="rId8" Type="http://schemas.openxmlformats.org/officeDocument/2006/relationships/tags" Target="../tags/tag119.xml"/><Relationship Id="rId51" Type="http://schemas.openxmlformats.org/officeDocument/2006/relationships/tags" Target="../tags/tag162.xml"/><Relationship Id="rId72" Type="http://schemas.openxmlformats.org/officeDocument/2006/relationships/tags" Target="../tags/tag183.xml"/><Relationship Id="rId80" Type="http://schemas.openxmlformats.org/officeDocument/2006/relationships/tags" Target="../tags/tag191.xml"/><Relationship Id="rId85" Type="http://schemas.openxmlformats.org/officeDocument/2006/relationships/tags" Target="../tags/tag196.xml"/><Relationship Id="rId3" Type="http://schemas.openxmlformats.org/officeDocument/2006/relationships/tags" Target="../tags/tag114.xml"/><Relationship Id="rId12" Type="http://schemas.openxmlformats.org/officeDocument/2006/relationships/tags" Target="../tags/tag123.xml"/><Relationship Id="rId17" Type="http://schemas.openxmlformats.org/officeDocument/2006/relationships/tags" Target="../tags/tag128.xml"/><Relationship Id="rId25" Type="http://schemas.openxmlformats.org/officeDocument/2006/relationships/tags" Target="../tags/tag136.xml"/><Relationship Id="rId33" Type="http://schemas.openxmlformats.org/officeDocument/2006/relationships/tags" Target="../tags/tag144.xml"/><Relationship Id="rId38" Type="http://schemas.openxmlformats.org/officeDocument/2006/relationships/tags" Target="../tags/tag149.xml"/><Relationship Id="rId46" Type="http://schemas.openxmlformats.org/officeDocument/2006/relationships/tags" Target="../tags/tag157.xml"/><Relationship Id="rId59" Type="http://schemas.openxmlformats.org/officeDocument/2006/relationships/tags" Target="../tags/tag170.xml"/><Relationship Id="rId67" Type="http://schemas.openxmlformats.org/officeDocument/2006/relationships/tags" Target="../tags/tag178.xml"/><Relationship Id="rId20" Type="http://schemas.openxmlformats.org/officeDocument/2006/relationships/tags" Target="../tags/tag131.xml"/><Relationship Id="rId41" Type="http://schemas.openxmlformats.org/officeDocument/2006/relationships/tags" Target="../tags/tag152.xml"/><Relationship Id="rId54" Type="http://schemas.openxmlformats.org/officeDocument/2006/relationships/tags" Target="../tags/tag165.xml"/><Relationship Id="rId62" Type="http://schemas.openxmlformats.org/officeDocument/2006/relationships/tags" Target="../tags/tag173.xml"/><Relationship Id="rId70" Type="http://schemas.openxmlformats.org/officeDocument/2006/relationships/tags" Target="../tags/tag181.xml"/><Relationship Id="rId75" Type="http://schemas.openxmlformats.org/officeDocument/2006/relationships/tags" Target="../tags/tag186.xml"/><Relationship Id="rId83" Type="http://schemas.openxmlformats.org/officeDocument/2006/relationships/tags" Target="../tags/tag194.xml"/><Relationship Id="rId88" Type="http://schemas.openxmlformats.org/officeDocument/2006/relationships/oleObject" Target="../embeddings/oleObject11.bin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15" Type="http://schemas.openxmlformats.org/officeDocument/2006/relationships/tags" Target="../tags/tag126.xml"/><Relationship Id="rId23" Type="http://schemas.openxmlformats.org/officeDocument/2006/relationships/tags" Target="../tags/tag134.xml"/><Relationship Id="rId28" Type="http://schemas.openxmlformats.org/officeDocument/2006/relationships/tags" Target="../tags/tag139.xml"/><Relationship Id="rId36" Type="http://schemas.openxmlformats.org/officeDocument/2006/relationships/tags" Target="../tags/tag147.xml"/><Relationship Id="rId49" Type="http://schemas.openxmlformats.org/officeDocument/2006/relationships/tags" Target="../tags/tag160.xml"/><Relationship Id="rId57" Type="http://schemas.openxmlformats.org/officeDocument/2006/relationships/tags" Target="../tags/tag168.xml"/><Relationship Id="rId10" Type="http://schemas.openxmlformats.org/officeDocument/2006/relationships/tags" Target="../tags/tag121.xml"/><Relationship Id="rId31" Type="http://schemas.openxmlformats.org/officeDocument/2006/relationships/tags" Target="../tags/tag142.xml"/><Relationship Id="rId44" Type="http://schemas.openxmlformats.org/officeDocument/2006/relationships/tags" Target="../tags/tag155.xml"/><Relationship Id="rId52" Type="http://schemas.openxmlformats.org/officeDocument/2006/relationships/tags" Target="../tags/tag163.xml"/><Relationship Id="rId60" Type="http://schemas.openxmlformats.org/officeDocument/2006/relationships/tags" Target="../tags/tag171.xml"/><Relationship Id="rId65" Type="http://schemas.openxmlformats.org/officeDocument/2006/relationships/tags" Target="../tags/tag176.xml"/><Relationship Id="rId73" Type="http://schemas.openxmlformats.org/officeDocument/2006/relationships/tags" Target="../tags/tag184.xml"/><Relationship Id="rId78" Type="http://schemas.openxmlformats.org/officeDocument/2006/relationships/tags" Target="../tags/tag189.xml"/><Relationship Id="rId81" Type="http://schemas.openxmlformats.org/officeDocument/2006/relationships/tags" Target="../tags/tag192.xml"/><Relationship Id="rId86" Type="http://schemas.openxmlformats.org/officeDocument/2006/relationships/tags" Target="../tags/tag197.xml"/><Relationship Id="rId4" Type="http://schemas.openxmlformats.org/officeDocument/2006/relationships/tags" Target="../tags/tag115.xml"/><Relationship Id="rId9" Type="http://schemas.openxmlformats.org/officeDocument/2006/relationships/tags" Target="../tags/tag120.xml"/><Relationship Id="rId13" Type="http://schemas.openxmlformats.org/officeDocument/2006/relationships/tags" Target="../tags/tag124.xml"/><Relationship Id="rId18" Type="http://schemas.openxmlformats.org/officeDocument/2006/relationships/tags" Target="../tags/tag129.xml"/><Relationship Id="rId39" Type="http://schemas.openxmlformats.org/officeDocument/2006/relationships/tags" Target="../tags/tag150.xml"/><Relationship Id="rId34" Type="http://schemas.openxmlformats.org/officeDocument/2006/relationships/tags" Target="../tags/tag145.xml"/><Relationship Id="rId50" Type="http://schemas.openxmlformats.org/officeDocument/2006/relationships/tags" Target="../tags/tag161.xml"/><Relationship Id="rId55" Type="http://schemas.openxmlformats.org/officeDocument/2006/relationships/tags" Target="../tags/tag166.xml"/><Relationship Id="rId76" Type="http://schemas.openxmlformats.org/officeDocument/2006/relationships/tags" Target="../tags/tag187.xml"/><Relationship Id="rId7" Type="http://schemas.openxmlformats.org/officeDocument/2006/relationships/tags" Target="../tags/tag118.xml"/><Relationship Id="rId71" Type="http://schemas.openxmlformats.org/officeDocument/2006/relationships/tags" Target="../tags/tag182.xml"/><Relationship Id="rId2" Type="http://schemas.openxmlformats.org/officeDocument/2006/relationships/tags" Target="../tags/tag113.xml"/><Relationship Id="rId29" Type="http://schemas.openxmlformats.org/officeDocument/2006/relationships/tags" Target="../tags/tag140.xml"/><Relationship Id="rId24" Type="http://schemas.openxmlformats.org/officeDocument/2006/relationships/tags" Target="../tags/tag135.xml"/><Relationship Id="rId40" Type="http://schemas.openxmlformats.org/officeDocument/2006/relationships/tags" Target="../tags/tag151.xml"/><Relationship Id="rId45" Type="http://schemas.openxmlformats.org/officeDocument/2006/relationships/tags" Target="../tags/tag156.xml"/><Relationship Id="rId66" Type="http://schemas.openxmlformats.org/officeDocument/2006/relationships/tags" Target="../tags/tag177.xml"/><Relationship Id="rId87" Type="http://schemas.openxmlformats.org/officeDocument/2006/relationships/slideLayout" Target="../slideLayouts/slideLayout7.xml"/><Relationship Id="rId61" Type="http://schemas.openxmlformats.org/officeDocument/2006/relationships/tags" Target="../tags/tag172.xml"/><Relationship Id="rId82" Type="http://schemas.openxmlformats.org/officeDocument/2006/relationships/tags" Target="../tags/tag193.xml"/><Relationship Id="rId19" Type="http://schemas.openxmlformats.org/officeDocument/2006/relationships/tags" Target="../tags/tag13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8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211.xml"/><Relationship Id="rId18" Type="http://schemas.openxmlformats.org/officeDocument/2006/relationships/tags" Target="../tags/tag216.xml"/><Relationship Id="rId26" Type="http://schemas.openxmlformats.org/officeDocument/2006/relationships/tags" Target="../tags/tag224.xml"/><Relationship Id="rId39" Type="http://schemas.openxmlformats.org/officeDocument/2006/relationships/tags" Target="../tags/tag237.xml"/><Relationship Id="rId21" Type="http://schemas.openxmlformats.org/officeDocument/2006/relationships/tags" Target="../tags/tag219.xml"/><Relationship Id="rId34" Type="http://schemas.openxmlformats.org/officeDocument/2006/relationships/tags" Target="../tags/tag232.xml"/><Relationship Id="rId42" Type="http://schemas.openxmlformats.org/officeDocument/2006/relationships/tags" Target="../tags/tag240.xml"/><Relationship Id="rId7" Type="http://schemas.openxmlformats.org/officeDocument/2006/relationships/tags" Target="../tags/tag205.xml"/><Relationship Id="rId2" Type="http://schemas.openxmlformats.org/officeDocument/2006/relationships/tags" Target="../tags/tag200.xml"/><Relationship Id="rId16" Type="http://schemas.openxmlformats.org/officeDocument/2006/relationships/tags" Target="../tags/tag214.xml"/><Relationship Id="rId29" Type="http://schemas.openxmlformats.org/officeDocument/2006/relationships/tags" Target="../tags/tag227.xml"/><Relationship Id="rId1" Type="http://schemas.openxmlformats.org/officeDocument/2006/relationships/tags" Target="../tags/tag199.xml"/><Relationship Id="rId6" Type="http://schemas.openxmlformats.org/officeDocument/2006/relationships/tags" Target="../tags/tag204.xml"/><Relationship Id="rId11" Type="http://schemas.openxmlformats.org/officeDocument/2006/relationships/tags" Target="../tags/tag209.xml"/><Relationship Id="rId24" Type="http://schemas.openxmlformats.org/officeDocument/2006/relationships/tags" Target="../tags/tag222.xml"/><Relationship Id="rId32" Type="http://schemas.openxmlformats.org/officeDocument/2006/relationships/tags" Target="../tags/tag230.xml"/><Relationship Id="rId37" Type="http://schemas.openxmlformats.org/officeDocument/2006/relationships/tags" Target="../tags/tag235.xml"/><Relationship Id="rId40" Type="http://schemas.openxmlformats.org/officeDocument/2006/relationships/tags" Target="../tags/tag238.xml"/><Relationship Id="rId45" Type="http://schemas.openxmlformats.org/officeDocument/2006/relationships/image" Target="../media/image1.emf"/><Relationship Id="rId5" Type="http://schemas.openxmlformats.org/officeDocument/2006/relationships/tags" Target="../tags/tag203.xml"/><Relationship Id="rId15" Type="http://schemas.openxmlformats.org/officeDocument/2006/relationships/tags" Target="../tags/tag213.xml"/><Relationship Id="rId23" Type="http://schemas.openxmlformats.org/officeDocument/2006/relationships/tags" Target="../tags/tag221.xml"/><Relationship Id="rId28" Type="http://schemas.openxmlformats.org/officeDocument/2006/relationships/tags" Target="../tags/tag226.xml"/><Relationship Id="rId36" Type="http://schemas.openxmlformats.org/officeDocument/2006/relationships/tags" Target="../tags/tag234.xml"/><Relationship Id="rId10" Type="http://schemas.openxmlformats.org/officeDocument/2006/relationships/tags" Target="../tags/tag208.xml"/><Relationship Id="rId19" Type="http://schemas.openxmlformats.org/officeDocument/2006/relationships/tags" Target="../tags/tag217.xml"/><Relationship Id="rId31" Type="http://schemas.openxmlformats.org/officeDocument/2006/relationships/tags" Target="../tags/tag229.xml"/><Relationship Id="rId44" Type="http://schemas.openxmlformats.org/officeDocument/2006/relationships/oleObject" Target="../embeddings/oleObject13.bin"/><Relationship Id="rId4" Type="http://schemas.openxmlformats.org/officeDocument/2006/relationships/tags" Target="../tags/tag202.xml"/><Relationship Id="rId9" Type="http://schemas.openxmlformats.org/officeDocument/2006/relationships/tags" Target="../tags/tag207.xml"/><Relationship Id="rId14" Type="http://schemas.openxmlformats.org/officeDocument/2006/relationships/tags" Target="../tags/tag212.xml"/><Relationship Id="rId22" Type="http://schemas.openxmlformats.org/officeDocument/2006/relationships/tags" Target="../tags/tag220.xml"/><Relationship Id="rId27" Type="http://schemas.openxmlformats.org/officeDocument/2006/relationships/tags" Target="../tags/tag225.xml"/><Relationship Id="rId30" Type="http://schemas.openxmlformats.org/officeDocument/2006/relationships/tags" Target="../tags/tag228.xml"/><Relationship Id="rId35" Type="http://schemas.openxmlformats.org/officeDocument/2006/relationships/tags" Target="../tags/tag233.xml"/><Relationship Id="rId43" Type="http://schemas.openxmlformats.org/officeDocument/2006/relationships/slideLayout" Target="../slideLayouts/slideLayout7.xml"/><Relationship Id="rId8" Type="http://schemas.openxmlformats.org/officeDocument/2006/relationships/tags" Target="../tags/tag206.xml"/><Relationship Id="rId3" Type="http://schemas.openxmlformats.org/officeDocument/2006/relationships/tags" Target="../tags/tag201.xml"/><Relationship Id="rId12" Type="http://schemas.openxmlformats.org/officeDocument/2006/relationships/tags" Target="../tags/tag210.xml"/><Relationship Id="rId17" Type="http://schemas.openxmlformats.org/officeDocument/2006/relationships/tags" Target="../tags/tag215.xml"/><Relationship Id="rId25" Type="http://schemas.openxmlformats.org/officeDocument/2006/relationships/tags" Target="../tags/tag223.xml"/><Relationship Id="rId33" Type="http://schemas.openxmlformats.org/officeDocument/2006/relationships/tags" Target="../tags/tag231.xml"/><Relationship Id="rId38" Type="http://schemas.openxmlformats.org/officeDocument/2006/relationships/tags" Target="../tags/tag236.xml"/><Relationship Id="rId46" Type="http://schemas.openxmlformats.org/officeDocument/2006/relationships/chart" Target="../charts/chart5.xml"/><Relationship Id="rId20" Type="http://schemas.openxmlformats.org/officeDocument/2006/relationships/tags" Target="../tags/tag218.xml"/><Relationship Id="rId41" Type="http://schemas.openxmlformats.org/officeDocument/2006/relationships/tags" Target="../tags/tag239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253.xml"/><Relationship Id="rId18" Type="http://schemas.openxmlformats.org/officeDocument/2006/relationships/tags" Target="../tags/tag258.xml"/><Relationship Id="rId26" Type="http://schemas.openxmlformats.org/officeDocument/2006/relationships/tags" Target="../tags/tag266.xml"/><Relationship Id="rId21" Type="http://schemas.openxmlformats.org/officeDocument/2006/relationships/tags" Target="../tags/tag261.xml"/><Relationship Id="rId34" Type="http://schemas.openxmlformats.org/officeDocument/2006/relationships/slideLayout" Target="../slideLayouts/slideLayout7.xml"/><Relationship Id="rId7" Type="http://schemas.openxmlformats.org/officeDocument/2006/relationships/tags" Target="../tags/tag247.xml"/><Relationship Id="rId12" Type="http://schemas.openxmlformats.org/officeDocument/2006/relationships/tags" Target="../tags/tag252.xml"/><Relationship Id="rId17" Type="http://schemas.openxmlformats.org/officeDocument/2006/relationships/tags" Target="../tags/tag257.xml"/><Relationship Id="rId25" Type="http://schemas.openxmlformats.org/officeDocument/2006/relationships/tags" Target="../tags/tag265.xml"/><Relationship Id="rId33" Type="http://schemas.openxmlformats.org/officeDocument/2006/relationships/tags" Target="../tags/tag273.xml"/><Relationship Id="rId2" Type="http://schemas.openxmlformats.org/officeDocument/2006/relationships/tags" Target="../tags/tag242.xml"/><Relationship Id="rId16" Type="http://schemas.openxmlformats.org/officeDocument/2006/relationships/tags" Target="../tags/tag256.xml"/><Relationship Id="rId20" Type="http://schemas.openxmlformats.org/officeDocument/2006/relationships/tags" Target="../tags/tag260.xml"/><Relationship Id="rId29" Type="http://schemas.openxmlformats.org/officeDocument/2006/relationships/tags" Target="../tags/tag269.xml"/><Relationship Id="rId1" Type="http://schemas.openxmlformats.org/officeDocument/2006/relationships/tags" Target="../tags/tag241.xml"/><Relationship Id="rId6" Type="http://schemas.openxmlformats.org/officeDocument/2006/relationships/tags" Target="../tags/tag246.xml"/><Relationship Id="rId11" Type="http://schemas.openxmlformats.org/officeDocument/2006/relationships/tags" Target="../tags/tag251.xml"/><Relationship Id="rId24" Type="http://schemas.openxmlformats.org/officeDocument/2006/relationships/tags" Target="../tags/tag264.xml"/><Relationship Id="rId32" Type="http://schemas.openxmlformats.org/officeDocument/2006/relationships/tags" Target="../tags/tag272.xml"/><Relationship Id="rId37" Type="http://schemas.openxmlformats.org/officeDocument/2006/relationships/chart" Target="../charts/chart6.xml"/><Relationship Id="rId5" Type="http://schemas.openxmlformats.org/officeDocument/2006/relationships/tags" Target="../tags/tag245.xml"/><Relationship Id="rId15" Type="http://schemas.openxmlformats.org/officeDocument/2006/relationships/tags" Target="../tags/tag255.xml"/><Relationship Id="rId23" Type="http://schemas.openxmlformats.org/officeDocument/2006/relationships/tags" Target="../tags/tag263.xml"/><Relationship Id="rId28" Type="http://schemas.openxmlformats.org/officeDocument/2006/relationships/tags" Target="../tags/tag268.xml"/><Relationship Id="rId36" Type="http://schemas.openxmlformats.org/officeDocument/2006/relationships/image" Target="../media/image1.emf"/><Relationship Id="rId10" Type="http://schemas.openxmlformats.org/officeDocument/2006/relationships/tags" Target="../tags/tag250.xml"/><Relationship Id="rId19" Type="http://schemas.openxmlformats.org/officeDocument/2006/relationships/tags" Target="../tags/tag259.xml"/><Relationship Id="rId31" Type="http://schemas.openxmlformats.org/officeDocument/2006/relationships/tags" Target="../tags/tag271.xml"/><Relationship Id="rId4" Type="http://schemas.openxmlformats.org/officeDocument/2006/relationships/tags" Target="../tags/tag244.xml"/><Relationship Id="rId9" Type="http://schemas.openxmlformats.org/officeDocument/2006/relationships/tags" Target="../tags/tag249.xml"/><Relationship Id="rId14" Type="http://schemas.openxmlformats.org/officeDocument/2006/relationships/tags" Target="../tags/tag254.xml"/><Relationship Id="rId22" Type="http://schemas.openxmlformats.org/officeDocument/2006/relationships/tags" Target="../tags/tag262.xml"/><Relationship Id="rId27" Type="http://schemas.openxmlformats.org/officeDocument/2006/relationships/tags" Target="../tags/tag267.xml"/><Relationship Id="rId30" Type="http://schemas.openxmlformats.org/officeDocument/2006/relationships/tags" Target="../tags/tag270.xml"/><Relationship Id="rId35" Type="http://schemas.openxmlformats.org/officeDocument/2006/relationships/oleObject" Target="../embeddings/oleObject14.bin"/><Relationship Id="rId8" Type="http://schemas.openxmlformats.org/officeDocument/2006/relationships/tags" Target="../tags/tag248.xml"/><Relationship Id="rId3" Type="http://schemas.openxmlformats.org/officeDocument/2006/relationships/tags" Target="../tags/tag243.xml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286.xml"/><Relationship Id="rId18" Type="http://schemas.openxmlformats.org/officeDocument/2006/relationships/tags" Target="../tags/tag291.xml"/><Relationship Id="rId26" Type="http://schemas.openxmlformats.org/officeDocument/2006/relationships/tags" Target="../tags/tag299.xml"/><Relationship Id="rId21" Type="http://schemas.openxmlformats.org/officeDocument/2006/relationships/tags" Target="../tags/tag294.xml"/><Relationship Id="rId34" Type="http://schemas.openxmlformats.org/officeDocument/2006/relationships/tags" Target="../tags/tag307.xml"/><Relationship Id="rId7" Type="http://schemas.openxmlformats.org/officeDocument/2006/relationships/tags" Target="../tags/tag280.xml"/><Relationship Id="rId12" Type="http://schemas.openxmlformats.org/officeDocument/2006/relationships/tags" Target="../tags/tag285.xml"/><Relationship Id="rId17" Type="http://schemas.openxmlformats.org/officeDocument/2006/relationships/tags" Target="../tags/tag290.xml"/><Relationship Id="rId25" Type="http://schemas.openxmlformats.org/officeDocument/2006/relationships/tags" Target="../tags/tag298.xml"/><Relationship Id="rId33" Type="http://schemas.openxmlformats.org/officeDocument/2006/relationships/tags" Target="../tags/tag306.xml"/><Relationship Id="rId38" Type="http://schemas.openxmlformats.org/officeDocument/2006/relationships/chart" Target="../charts/chart7.xml"/><Relationship Id="rId2" Type="http://schemas.openxmlformats.org/officeDocument/2006/relationships/tags" Target="../tags/tag275.xml"/><Relationship Id="rId16" Type="http://schemas.openxmlformats.org/officeDocument/2006/relationships/tags" Target="../tags/tag289.xml"/><Relationship Id="rId20" Type="http://schemas.openxmlformats.org/officeDocument/2006/relationships/tags" Target="../tags/tag293.xml"/><Relationship Id="rId29" Type="http://schemas.openxmlformats.org/officeDocument/2006/relationships/tags" Target="../tags/tag302.xml"/><Relationship Id="rId1" Type="http://schemas.openxmlformats.org/officeDocument/2006/relationships/tags" Target="../tags/tag274.xml"/><Relationship Id="rId6" Type="http://schemas.openxmlformats.org/officeDocument/2006/relationships/tags" Target="../tags/tag279.xml"/><Relationship Id="rId11" Type="http://schemas.openxmlformats.org/officeDocument/2006/relationships/tags" Target="../tags/tag284.xml"/><Relationship Id="rId24" Type="http://schemas.openxmlformats.org/officeDocument/2006/relationships/tags" Target="../tags/tag297.xml"/><Relationship Id="rId32" Type="http://schemas.openxmlformats.org/officeDocument/2006/relationships/tags" Target="../tags/tag305.xml"/><Relationship Id="rId37" Type="http://schemas.openxmlformats.org/officeDocument/2006/relationships/image" Target="../media/image1.emf"/><Relationship Id="rId5" Type="http://schemas.openxmlformats.org/officeDocument/2006/relationships/tags" Target="../tags/tag278.xml"/><Relationship Id="rId15" Type="http://schemas.openxmlformats.org/officeDocument/2006/relationships/tags" Target="../tags/tag288.xml"/><Relationship Id="rId23" Type="http://schemas.openxmlformats.org/officeDocument/2006/relationships/tags" Target="../tags/tag296.xml"/><Relationship Id="rId28" Type="http://schemas.openxmlformats.org/officeDocument/2006/relationships/tags" Target="../tags/tag301.xml"/><Relationship Id="rId36" Type="http://schemas.openxmlformats.org/officeDocument/2006/relationships/oleObject" Target="../embeddings/oleObject15.bin"/><Relationship Id="rId10" Type="http://schemas.openxmlformats.org/officeDocument/2006/relationships/tags" Target="../tags/tag283.xml"/><Relationship Id="rId19" Type="http://schemas.openxmlformats.org/officeDocument/2006/relationships/tags" Target="../tags/tag292.xml"/><Relationship Id="rId31" Type="http://schemas.openxmlformats.org/officeDocument/2006/relationships/tags" Target="../tags/tag304.xml"/><Relationship Id="rId4" Type="http://schemas.openxmlformats.org/officeDocument/2006/relationships/tags" Target="../tags/tag277.xml"/><Relationship Id="rId9" Type="http://schemas.openxmlformats.org/officeDocument/2006/relationships/tags" Target="../tags/tag282.xml"/><Relationship Id="rId14" Type="http://schemas.openxmlformats.org/officeDocument/2006/relationships/tags" Target="../tags/tag287.xml"/><Relationship Id="rId22" Type="http://schemas.openxmlformats.org/officeDocument/2006/relationships/tags" Target="../tags/tag295.xml"/><Relationship Id="rId27" Type="http://schemas.openxmlformats.org/officeDocument/2006/relationships/tags" Target="../tags/tag300.xml"/><Relationship Id="rId30" Type="http://schemas.openxmlformats.org/officeDocument/2006/relationships/tags" Target="../tags/tag303.xml"/><Relationship Id="rId35" Type="http://schemas.openxmlformats.org/officeDocument/2006/relationships/slideLayout" Target="../slideLayouts/slideLayout7.xml"/><Relationship Id="rId8" Type="http://schemas.openxmlformats.org/officeDocument/2006/relationships/tags" Target="../tags/tag281.xml"/><Relationship Id="rId3" Type="http://schemas.openxmlformats.org/officeDocument/2006/relationships/tags" Target="../tags/tag27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315.xml"/><Relationship Id="rId13" Type="http://schemas.openxmlformats.org/officeDocument/2006/relationships/tags" Target="../tags/tag320.xml"/><Relationship Id="rId18" Type="http://schemas.openxmlformats.org/officeDocument/2006/relationships/image" Target="../media/image1.emf"/><Relationship Id="rId3" Type="http://schemas.openxmlformats.org/officeDocument/2006/relationships/tags" Target="../tags/tag310.xml"/><Relationship Id="rId7" Type="http://schemas.openxmlformats.org/officeDocument/2006/relationships/tags" Target="../tags/tag314.xml"/><Relationship Id="rId12" Type="http://schemas.openxmlformats.org/officeDocument/2006/relationships/tags" Target="../tags/tag319.xml"/><Relationship Id="rId17" Type="http://schemas.openxmlformats.org/officeDocument/2006/relationships/oleObject" Target="../embeddings/oleObject16.bin"/><Relationship Id="rId2" Type="http://schemas.openxmlformats.org/officeDocument/2006/relationships/tags" Target="../tags/tag309.xml"/><Relationship Id="rId16" Type="http://schemas.openxmlformats.org/officeDocument/2006/relationships/slideLayout" Target="../slideLayouts/slideLayout7.xml"/><Relationship Id="rId1" Type="http://schemas.openxmlformats.org/officeDocument/2006/relationships/tags" Target="../tags/tag308.xml"/><Relationship Id="rId6" Type="http://schemas.openxmlformats.org/officeDocument/2006/relationships/tags" Target="../tags/tag313.xml"/><Relationship Id="rId11" Type="http://schemas.openxmlformats.org/officeDocument/2006/relationships/tags" Target="../tags/tag318.xml"/><Relationship Id="rId5" Type="http://schemas.openxmlformats.org/officeDocument/2006/relationships/tags" Target="../tags/tag312.xml"/><Relationship Id="rId15" Type="http://schemas.openxmlformats.org/officeDocument/2006/relationships/tags" Target="../tags/tag322.xml"/><Relationship Id="rId10" Type="http://schemas.openxmlformats.org/officeDocument/2006/relationships/tags" Target="../tags/tag317.xml"/><Relationship Id="rId19" Type="http://schemas.openxmlformats.org/officeDocument/2006/relationships/chart" Target="../charts/chart8.xml"/><Relationship Id="rId4" Type="http://schemas.openxmlformats.org/officeDocument/2006/relationships/tags" Target="../tags/tag311.xml"/><Relationship Id="rId9" Type="http://schemas.openxmlformats.org/officeDocument/2006/relationships/tags" Target="../tags/tag316.xml"/><Relationship Id="rId14" Type="http://schemas.openxmlformats.org/officeDocument/2006/relationships/tags" Target="../tags/tag3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tags" Target="../tags/tag33.xml"/><Relationship Id="rId39" Type="http://schemas.openxmlformats.org/officeDocument/2006/relationships/oleObject" Target="../embeddings/oleObject7.bin"/><Relationship Id="rId21" Type="http://schemas.openxmlformats.org/officeDocument/2006/relationships/tags" Target="../tags/tag28.xml"/><Relationship Id="rId34" Type="http://schemas.openxmlformats.org/officeDocument/2006/relationships/tags" Target="../tags/tag41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29" Type="http://schemas.openxmlformats.org/officeDocument/2006/relationships/tags" Target="../tags/tag36.xml"/><Relationship Id="rId41" Type="http://schemas.openxmlformats.org/officeDocument/2006/relationships/chart" Target="../charts/chart1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tags" Target="../tags/tag31.xml"/><Relationship Id="rId32" Type="http://schemas.openxmlformats.org/officeDocument/2006/relationships/tags" Target="../tags/tag39.xml"/><Relationship Id="rId37" Type="http://schemas.openxmlformats.org/officeDocument/2006/relationships/slideLayout" Target="../slideLayouts/slideLayout7.xml"/><Relationship Id="rId40" Type="http://schemas.openxmlformats.org/officeDocument/2006/relationships/image" Target="../media/image1.emf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tags" Target="../tags/tag35.xml"/><Relationship Id="rId36" Type="http://schemas.openxmlformats.org/officeDocument/2006/relationships/tags" Target="../tags/tag43.xml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31" Type="http://schemas.openxmlformats.org/officeDocument/2006/relationships/tags" Target="../tags/tag38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tags" Target="../tags/tag34.xml"/><Relationship Id="rId30" Type="http://schemas.openxmlformats.org/officeDocument/2006/relationships/tags" Target="../tags/tag37.xml"/><Relationship Id="rId35" Type="http://schemas.openxmlformats.org/officeDocument/2006/relationships/tags" Target="../tags/tag42.xml"/><Relationship Id="rId8" Type="http://schemas.openxmlformats.org/officeDocument/2006/relationships/tags" Target="../tags/tag15.xml"/><Relationship Id="rId3" Type="http://schemas.openxmlformats.org/officeDocument/2006/relationships/tags" Target="../tags/tag10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33" Type="http://schemas.openxmlformats.org/officeDocument/2006/relationships/tags" Target="../tags/tag40.xml"/><Relationship Id="rId38" Type="http://schemas.openxmlformats.org/officeDocument/2006/relationships/notesSlide" Target="../notesSlides/notesSlide1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26" Type="http://schemas.openxmlformats.org/officeDocument/2006/relationships/tags" Target="../tags/tag69.xml"/><Relationship Id="rId39" Type="http://schemas.openxmlformats.org/officeDocument/2006/relationships/oleObject" Target="../embeddings/oleObject8.bin"/><Relationship Id="rId21" Type="http://schemas.openxmlformats.org/officeDocument/2006/relationships/tags" Target="../tags/tag64.xml"/><Relationship Id="rId34" Type="http://schemas.openxmlformats.org/officeDocument/2006/relationships/tags" Target="../tags/tag77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0" Type="http://schemas.openxmlformats.org/officeDocument/2006/relationships/tags" Target="../tags/tag63.xml"/><Relationship Id="rId29" Type="http://schemas.openxmlformats.org/officeDocument/2006/relationships/tags" Target="../tags/tag72.xml"/><Relationship Id="rId41" Type="http://schemas.openxmlformats.org/officeDocument/2006/relationships/chart" Target="../charts/chart2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tags" Target="../tags/tag67.xml"/><Relationship Id="rId32" Type="http://schemas.openxmlformats.org/officeDocument/2006/relationships/tags" Target="../tags/tag75.xml"/><Relationship Id="rId37" Type="http://schemas.openxmlformats.org/officeDocument/2006/relationships/tags" Target="../tags/tag80.xml"/><Relationship Id="rId40" Type="http://schemas.openxmlformats.org/officeDocument/2006/relationships/image" Target="../media/image1.emf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23" Type="http://schemas.openxmlformats.org/officeDocument/2006/relationships/tags" Target="../tags/tag66.xml"/><Relationship Id="rId28" Type="http://schemas.openxmlformats.org/officeDocument/2006/relationships/tags" Target="../tags/tag71.xml"/><Relationship Id="rId36" Type="http://schemas.openxmlformats.org/officeDocument/2006/relationships/tags" Target="../tags/tag79.xml"/><Relationship Id="rId10" Type="http://schemas.openxmlformats.org/officeDocument/2006/relationships/tags" Target="../tags/tag53.xml"/><Relationship Id="rId19" Type="http://schemas.openxmlformats.org/officeDocument/2006/relationships/tags" Target="../tags/tag62.xml"/><Relationship Id="rId31" Type="http://schemas.openxmlformats.org/officeDocument/2006/relationships/tags" Target="../tags/tag74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tags" Target="../tags/tag65.xml"/><Relationship Id="rId27" Type="http://schemas.openxmlformats.org/officeDocument/2006/relationships/tags" Target="../tags/tag70.xml"/><Relationship Id="rId30" Type="http://schemas.openxmlformats.org/officeDocument/2006/relationships/tags" Target="../tags/tag73.xml"/><Relationship Id="rId35" Type="http://schemas.openxmlformats.org/officeDocument/2006/relationships/tags" Target="../tags/tag78.xml"/><Relationship Id="rId8" Type="http://schemas.openxmlformats.org/officeDocument/2006/relationships/tags" Target="../tags/tag51.xml"/><Relationship Id="rId3" Type="http://schemas.openxmlformats.org/officeDocument/2006/relationships/tags" Target="../tags/tag46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5" Type="http://schemas.openxmlformats.org/officeDocument/2006/relationships/tags" Target="../tags/tag68.xml"/><Relationship Id="rId33" Type="http://schemas.openxmlformats.org/officeDocument/2006/relationships/tags" Target="../tags/tag76.xml"/><Relationship Id="rId38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93.xml"/><Relationship Id="rId18" Type="http://schemas.openxmlformats.org/officeDocument/2006/relationships/tags" Target="../tags/tag98.xml"/><Relationship Id="rId26" Type="http://schemas.openxmlformats.org/officeDocument/2006/relationships/tags" Target="../tags/tag106.xml"/><Relationship Id="rId3" Type="http://schemas.openxmlformats.org/officeDocument/2006/relationships/tags" Target="../tags/tag83.xml"/><Relationship Id="rId21" Type="http://schemas.openxmlformats.org/officeDocument/2006/relationships/tags" Target="../tags/tag101.xml"/><Relationship Id="rId34" Type="http://schemas.openxmlformats.org/officeDocument/2006/relationships/chart" Target="../charts/chart3.xml"/><Relationship Id="rId7" Type="http://schemas.openxmlformats.org/officeDocument/2006/relationships/tags" Target="../tags/tag87.xml"/><Relationship Id="rId12" Type="http://schemas.openxmlformats.org/officeDocument/2006/relationships/tags" Target="../tags/tag92.xml"/><Relationship Id="rId17" Type="http://schemas.openxmlformats.org/officeDocument/2006/relationships/tags" Target="../tags/tag97.xml"/><Relationship Id="rId25" Type="http://schemas.openxmlformats.org/officeDocument/2006/relationships/tags" Target="../tags/tag105.xml"/><Relationship Id="rId33" Type="http://schemas.openxmlformats.org/officeDocument/2006/relationships/image" Target="../media/image1.emf"/><Relationship Id="rId2" Type="http://schemas.openxmlformats.org/officeDocument/2006/relationships/tags" Target="../tags/tag82.xml"/><Relationship Id="rId16" Type="http://schemas.openxmlformats.org/officeDocument/2006/relationships/tags" Target="../tags/tag96.xml"/><Relationship Id="rId20" Type="http://schemas.openxmlformats.org/officeDocument/2006/relationships/tags" Target="../tags/tag100.xml"/><Relationship Id="rId29" Type="http://schemas.openxmlformats.org/officeDocument/2006/relationships/tags" Target="../tags/tag109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1" Type="http://schemas.openxmlformats.org/officeDocument/2006/relationships/tags" Target="../tags/tag91.xml"/><Relationship Id="rId24" Type="http://schemas.openxmlformats.org/officeDocument/2006/relationships/tags" Target="../tags/tag104.xml"/><Relationship Id="rId32" Type="http://schemas.openxmlformats.org/officeDocument/2006/relationships/oleObject" Target="../embeddings/oleObject9.bin"/><Relationship Id="rId5" Type="http://schemas.openxmlformats.org/officeDocument/2006/relationships/tags" Target="../tags/tag85.xml"/><Relationship Id="rId15" Type="http://schemas.openxmlformats.org/officeDocument/2006/relationships/tags" Target="../tags/tag95.xml"/><Relationship Id="rId23" Type="http://schemas.openxmlformats.org/officeDocument/2006/relationships/tags" Target="../tags/tag103.xml"/><Relationship Id="rId28" Type="http://schemas.openxmlformats.org/officeDocument/2006/relationships/tags" Target="../tags/tag108.xml"/><Relationship Id="rId10" Type="http://schemas.openxmlformats.org/officeDocument/2006/relationships/tags" Target="../tags/tag90.xml"/><Relationship Id="rId19" Type="http://schemas.openxmlformats.org/officeDocument/2006/relationships/tags" Target="../tags/tag99.xml"/><Relationship Id="rId31" Type="http://schemas.openxmlformats.org/officeDocument/2006/relationships/slideLayout" Target="../slideLayouts/slideLayout7.xml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tags" Target="../tags/tag94.xml"/><Relationship Id="rId22" Type="http://schemas.openxmlformats.org/officeDocument/2006/relationships/tags" Target="../tags/tag102.xml"/><Relationship Id="rId27" Type="http://schemas.openxmlformats.org/officeDocument/2006/relationships/tags" Target="../tags/tag107.xml"/><Relationship Id="rId30" Type="http://schemas.openxmlformats.org/officeDocument/2006/relationships/tags" Target="../tags/tag110.xml"/><Relationship Id="rId8" Type="http://schemas.openxmlformats.org/officeDocument/2006/relationships/tags" Target="../tags/tag8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D11EA1B-9BDB-E2C9-27CF-E8FAC17D24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8139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m 5" descr="Mão segurando celular&#10;&#10;Descrição gerada automaticamente">
            <a:extLst>
              <a:ext uri="{FF2B5EF4-FFF2-40B4-BE49-F238E27FC236}">
                <a16:creationId xmlns:a16="http://schemas.microsoft.com/office/drawing/2014/main" id="{32EB7341-B74E-2503-F1F9-6FA905321B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CB9CAC15-A54C-4ED0-99A7-D5E70DE35E5B}"/>
              </a:ext>
            </a:extLst>
          </p:cNvPr>
          <p:cNvSpPr/>
          <p:nvPr/>
        </p:nvSpPr>
        <p:spPr>
          <a:xfrm>
            <a:off x="6902246" y="296863"/>
            <a:ext cx="3495368" cy="63007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4000" dirty="0">
                <a:solidFill>
                  <a:schemeClr val="tx1"/>
                </a:solidFill>
              </a:rPr>
              <a:t>Relatório Campanha de Marketing</a:t>
            </a: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7317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>
            <a:extLst>
              <a:ext uri="{FF2B5EF4-FFF2-40B4-BE49-F238E27FC236}">
                <a16:creationId xmlns:a16="http://schemas.microsoft.com/office/drawing/2014/main" id="{E55CEC74-5427-D628-5068-3D7380C188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5586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88" imgW="421" imgH="420" progId="TCLayout.ActiveDocument.1">
                  <p:embed/>
                </p:oleObj>
              </mc:Choice>
              <mc:Fallback>
                <p:oleObj name="Slide do think-cell" r:id="rId88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14" name="Chart 3">
            <a:extLst>
              <a:ext uri="{FF2B5EF4-FFF2-40B4-BE49-F238E27FC236}">
                <a16:creationId xmlns:a16="http://schemas.microsoft.com/office/drawing/2014/main" id="{97602FB6-3822-4AA9-6ED5-F6993581103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652614"/>
              </p:ext>
            </p:extLst>
          </p:nvPr>
        </p:nvGraphicFramePr>
        <p:xfrm>
          <a:off x="49213" y="1743075"/>
          <a:ext cx="12007850" cy="3902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0"/>
          </a:graphicData>
        </a:graphic>
      </p:graphicFrame>
      <p:cxnSp>
        <p:nvCxnSpPr>
          <p:cNvPr id="1635" name="Conector reto 1634">
            <a:extLst>
              <a:ext uri="{FF2B5EF4-FFF2-40B4-BE49-F238E27FC236}">
                <a16:creationId xmlns:a16="http://schemas.microsoft.com/office/drawing/2014/main" id="{CB68E790-7300-7F62-CDE3-AC6122083D6A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830263" y="4991100"/>
            <a:ext cx="857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Conector reto 56">
            <a:extLst>
              <a:ext uri="{FF2B5EF4-FFF2-40B4-BE49-F238E27FC236}">
                <a16:creationId xmlns:a16="http://schemas.microsoft.com/office/drawing/2014/main" id="{F0A28505-EC81-E819-9277-C8F5F58ECFBB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5764213" y="4981575"/>
            <a:ext cx="857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6" name="Conector reto 1635">
            <a:extLst>
              <a:ext uri="{FF2B5EF4-FFF2-40B4-BE49-F238E27FC236}">
                <a16:creationId xmlns:a16="http://schemas.microsoft.com/office/drawing/2014/main" id="{B662002B-F01A-09B0-3E5C-ABAA93035D05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1816100" y="5245100"/>
            <a:ext cx="857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Conector reto 57">
            <a:extLst>
              <a:ext uri="{FF2B5EF4-FFF2-40B4-BE49-F238E27FC236}">
                <a16:creationId xmlns:a16="http://schemas.microsoft.com/office/drawing/2014/main" id="{0F93E7E0-4B23-6547-2B3B-219F341CF88D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8724900" y="5138738"/>
            <a:ext cx="857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9" name="Conector reto 1658">
            <a:extLst>
              <a:ext uri="{FF2B5EF4-FFF2-40B4-BE49-F238E27FC236}">
                <a16:creationId xmlns:a16="http://schemas.microsoft.com/office/drawing/2014/main" id="{1A1EF0E3-6F6B-E0A7-7F75-A085DF033D61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H="1" flipV="1">
            <a:off x="9712325" y="5211763"/>
            <a:ext cx="85725" cy="460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7" name="Conector reto 1666">
            <a:extLst>
              <a:ext uri="{FF2B5EF4-FFF2-40B4-BE49-F238E27FC236}">
                <a16:creationId xmlns:a16="http://schemas.microsoft.com/office/drawing/2014/main" id="{14AFF768-CE06-F926-786B-52ED6CB80A4A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9712325" y="5121274"/>
            <a:ext cx="85725" cy="444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0" name="Conector reto 1659">
            <a:extLst>
              <a:ext uri="{FF2B5EF4-FFF2-40B4-BE49-F238E27FC236}">
                <a16:creationId xmlns:a16="http://schemas.microsoft.com/office/drawing/2014/main" id="{560BD426-7B9B-4548-40FC-239035BDE81E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10698163" y="5214938"/>
            <a:ext cx="857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1" name="Conector reto 1660">
            <a:extLst>
              <a:ext uri="{FF2B5EF4-FFF2-40B4-BE49-F238E27FC236}">
                <a16:creationId xmlns:a16="http://schemas.microsoft.com/office/drawing/2014/main" id="{98119FD5-B5C3-0CC0-703E-F370FA92676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11685588" y="5286375"/>
            <a:ext cx="857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42" name="Espaço Reservado para Texto 2">
            <a:extLst>
              <a:ext uri="{FF2B5EF4-FFF2-40B4-BE49-F238E27FC236}">
                <a16:creationId xmlns:a16="http://schemas.microsoft.com/office/drawing/2014/main" id="{B3786109-492A-9A62-3CF4-638917EC69D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435100" y="5243513"/>
            <a:ext cx="352425" cy="136525"/>
          </a:xfrm>
          <a:prstGeom prst="rect">
            <a:avLst/>
          </a:prstGeom>
          <a:solidFill>
            <a:srgbClr val="CFB5FF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1D6BA9-61CC-4AD6-A1D5-D6CE408CAF54}" type="datetime'''''1''''''''9'',''3''''''''''''''''''''%'''''''">
              <a:rPr lang="pt-BR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,3%</a:t>
            </a:fld>
            <a:endParaRPr lang="pt-BR" sz="1000" dirty="0"/>
          </a:p>
        </p:txBody>
      </p:sp>
      <p:sp>
        <p:nvSpPr>
          <p:cNvPr id="1351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501900" y="5621338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EF1C6E-556B-4FD2-9BE2-5900E93CB23E}" type="datetime'''''''''1''''1'''''''''''''''''">
              <a:rPr lang="pt-BR" altLang="en-US" sz="1400" smtClean="0"/>
              <a:pPr/>
              <a:t>11</a:t>
            </a:fld>
            <a:endParaRPr lang="pt-BR" sz="1400" dirty="0"/>
          </a:p>
        </p:txBody>
      </p:sp>
      <p:sp>
        <p:nvSpPr>
          <p:cNvPr id="1652" name="Espaço Reservado para Texto 2">
            <a:extLst>
              <a:ext uri="{FF2B5EF4-FFF2-40B4-BE49-F238E27FC236}">
                <a16:creationId xmlns:a16="http://schemas.microsoft.com/office/drawing/2014/main" id="{B4133055-C8C1-15D8-FE4B-228C8361F1A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1771313" y="521811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32ADDD9-AE21-4A67-A448-103480AB8E67}" type="datetime'''''''''''''''''''9'''''''''''''''',''0''''''''''%'''''''">
              <a:rPr lang="pt-BR" altLang="en-US" sz="1000" smtClean="0"/>
              <a:pPr/>
              <a:t>9,0%</a:t>
            </a:fld>
            <a:endParaRPr lang="pt-BR" sz="1000" dirty="0"/>
          </a:p>
        </p:txBody>
      </p:sp>
      <p:sp>
        <p:nvSpPr>
          <p:cNvPr id="1641" name="Espaço Reservado para Texto 2">
            <a:extLst>
              <a:ext uri="{FF2B5EF4-FFF2-40B4-BE49-F238E27FC236}">
                <a16:creationId xmlns:a16="http://schemas.microsoft.com/office/drawing/2014/main" id="{4AAE4EBA-D789-3297-6D93-DA41800D4DC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49263" y="5005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FB5FF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CACE16-75DE-438E-A017-4A21FBADB448}" type="datetime'''''1''''9'''''',''''5''%'''''''''''''''''''">
              <a:rPr lang="pt-BR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,5%</a:t>
            </a:fld>
            <a:endParaRPr lang="pt-BR" sz="1000" dirty="0"/>
          </a:p>
        </p:txBody>
      </p:sp>
      <p:sp>
        <p:nvSpPr>
          <p:cNvPr id="1349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74675" y="5621338"/>
            <a:ext cx="1031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FDE623-902E-4EB4-962E-4B934AB74097}" type="datetime'''9'''''''''''''''''''''''''''''''''''''''''''''''''''">
              <a:rPr lang="pt-BR" altLang="en-US" sz="1400" smtClean="0"/>
              <a:pPr/>
              <a:t>9</a:t>
            </a:fld>
            <a:endParaRPr lang="pt-BR" sz="1400" dirty="0"/>
          </a:p>
        </p:txBody>
      </p:sp>
      <p:sp>
        <p:nvSpPr>
          <p:cNvPr id="1401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435100" y="53863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66795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72C4BA-10C3-4FCE-ACD1-E5F12FE26E3F}" type="datetime'''''6''2'',''''''''''''''''''''''''''''1''''%'''''">
              <a:rPr lang="pt-BR" altLang="en-US" sz="1000" smtClean="0">
                <a:solidFill>
                  <a:schemeClr val="bg1"/>
                </a:solidFill>
              </a:rPr>
              <a:pPr/>
              <a:t>62,1%</a:t>
            </a:fld>
            <a:endParaRPr lang="pt-BR" sz="1000" dirty="0">
              <a:solidFill>
                <a:schemeClr val="bg1"/>
              </a:solidFill>
            </a:endParaRPr>
          </a:p>
        </p:txBody>
      </p:sp>
      <p:sp useBgFill="1">
        <p:nvSpPr>
          <p:cNvPr id="1490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338263" y="2973388"/>
            <a:ext cx="54768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82587D-0124-49F3-A801-CA9F6D917B79}" type="datetime'''''''''''''''''''''''8''''''''''''''''''''1''.''''''86''2'">
              <a:rPr lang="pt-BR" altLang="en-US" sz="1400" smtClean="0">
                <a:effectLst/>
              </a:rPr>
              <a:pPr/>
              <a:t>81.862</a:t>
            </a:fld>
            <a:endParaRPr lang="pt-BR" sz="1400" dirty="0"/>
          </a:p>
        </p:txBody>
      </p:sp>
      <p:sp>
        <p:nvSpPr>
          <p:cNvPr id="1623" name="Espaço Reservado para Texto 2">
            <a:extLst>
              <a:ext uri="{FF2B5EF4-FFF2-40B4-BE49-F238E27FC236}">
                <a16:creationId xmlns:a16="http://schemas.microsoft.com/office/drawing/2014/main" id="{8B21FF6F-5B63-C37F-A29B-A009D7F14FE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901825" y="51768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7BBAE4-10BA-497C-BC19-776998913D5F}" type="datetime'''''''''''''''''1''''''''''8'''',''6''''%'''''''''''''''''''">
              <a:rPr lang="pt-BR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8,6%</a:t>
            </a:fld>
            <a:endParaRPr lang="pt-BR" sz="1000" dirty="0"/>
          </a:p>
        </p:txBody>
      </p:sp>
      <p:sp>
        <p:nvSpPr>
          <p:cNvPr id="1381" name="Espaço Reservado para Texto 2">
            <a:extLst>
              <a:ext uri="{FF2B5EF4-FFF2-40B4-BE49-F238E27FC236}">
                <a16:creationId xmlns:a16="http://schemas.microsoft.com/office/drawing/2014/main" id="{ABC08128-AF1D-9185-7E1B-ACD26132B73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410700" y="5621338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3F6631-8D5F-4EEA-878D-787D1B48ED93}" type="datetime'''''''''''''''''''''''1''''''''''''''8'''''''''''''''''">
              <a:rPr lang="pt-BR" altLang="en-US" sz="1400" smtClean="0"/>
              <a:pPr/>
              <a:t>18</a:t>
            </a:fld>
            <a:endParaRPr lang="pt-BR" sz="1400" dirty="0"/>
          </a:p>
        </p:txBody>
      </p:sp>
      <p:sp>
        <p:nvSpPr>
          <p:cNvPr id="1350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514475" y="5621338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3CB231-1A44-402E-8443-A3A5309CF6CA}" type="datetime'''''''''''1''''''''''''''0'''''''''''">
              <a:rPr lang="pt-BR" altLang="en-US" sz="1400" smtClean="0"/>
              <a:pPr/>
              <a:t>10</a:t>
            </a:fld>
            <a:endParaRPr lang="pt-BR" sz="1400" dirty="0"/>
          </a:p>
        </p:txBody>
      </p:sp>
      <p:sp>
        <p:nvSpPr>
          <p:cNvPr id="1632" name="Espaço Reservado para Texto 2">
            <a:extLst>
              <a:ext uri="{FF2B5EF4-FFF2-40B4-BE49-F238E27FC236}">
                <a16:creationId xmlns:a16="http://schemas.microsoft.com/office/drawing/2014/main" id="{012DC3D7-9481-B2F5-1E5E-65118D01FAB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0317163" y="5211763"/>
            <a:ext cx="352425" cy="136525"/>
          </a:xfrm>
          <a:prstGeom prst="rect">
            <a:avLst/>
          </a:prstGeom>
          <a:solidFill>
            <a:srgbClr val="A3C7A1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0B086C-0124-43D9-8229-3C5BC412E42F}" type="datetime'2''''''''''''''''''''''''2'''''''''''',''''''7''%'''''''''''''">
              <a:rPr lang="pt-BR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,7%</a:t>
            </a:fld>
            <a:endParaRPr lang="pt-BR" sz="1000" dirty="0"/>
          </a:p>
        </p:txBody>
      </p:sp>
      <p:sp useBgFill="1">
        <p:nvSpPr>
          <p:cNvPr id="1491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279650" y="2466975"/>
            <a:ext cx="6381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3362CA-D793-4810-AC06-FF89F01D5E02}" type="datetime'''''''''''''1''''''''''''''21''''.33''''5'''''''''''''''''''''">
              <a:rPr lang="pt-BR" altLang="en-US" sz="1400" smtClean="0">
                <a:effectLst/>
              </a:rPr>
              <a:pPr/>
              <a:t>121.335</a:t>
            </a:fld>
            <a:endParaRPr lang="pt-BR" sz="1400" dirty="0"/>
          </a:p>
        </p:txBody>
      </p:sp>
      <p:sp>
        <p:nvSpPr>
          <p:cNvPr id="1651" name="Espaço Reservado para Texto 2">
            <a:extLst>
              <a:ext uri="{FF2B5EF4-FFF2-40B4-BE49-F238E27FC236}">
                <a16:creationId xmlns:a16="http://schemas.microsoft.com/office/drawing/2014/main" id="{72213EED-17C5-0B9F-2BEE-59630CBFB8C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0783888" y="51466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0BEFA0E-E079-4EBF-A9D3-9965B7431582}" type="datetime'''''''''''''''''''''''''''12'''''',''''''''''''''''7''''''%'">
              <a:rPr lang="pt-BR" altLang="en-US" sz="1000" smtClean="0"/>
              <a:pPr/>
              <a:t>12,7%</a:t>
            </a:fld>
            <a:endParaRPr lang="pt-BR" sz="1000" dirty="0"/>
          </a:p>
        </p:txBody>
      </p:sp>
      <p:sp>
        <p:nvSpPr>
          <p:cNvPr id="1404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422525" y="51958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1B57BD-D4E8-4F7D-B4C5-72EFFD037086}" type="datetime'''''''''''''''''''''''''5''''''''8'''''''',''2''%'''''''">
              <a:rPr lang="pt-BR" altLang="en-US" sz="1000" smtClean="0">
                <a:solidFill>
                  <a:schemeClr val="bg1"/>
                </a:solidFill>
              </a:rPr>
              <a:pPr/>
              <a:t>58,2%</a:t>
            </a:fld>
            <a:endParaRPr lang="pt-BR" sz="1000" dirty="0">
              <a:solidFill>
                <a:schemeClr val="bg1"/>
              </a:solidFill>
            </a:endParaRPr>
          </a:p>
        </p:txBody>
      </p:sp>
      <p:sp>
        <p:nvSpPr>
          <p:cNvPr id="1380" name="Espaço Reservado para Texto 2">
            <a:extLst>
              <a:ext uri="{FF2B5EF4-FFF2-40B4-BE49-F238E27FC236}">
                <a16:creationId xmlns:a16="http://schemas.microsoft.com/office/drawing/2014/main" id="{1E525681-89AA-5A93-0808-3FF233199ACC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423275" y="5621338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403E2A-1BAC-4C44-8D84-24943A32D613}" type="datetime'''''''''''''''''1''''''''''''''''''''''''''''7'''''''">
              <a:rPr lang="pt-BR" altLang="en-US" sz="1400" smtClean="0"/>
              <a:pPr/>
              <a:t>17</a:t>
            </a:fld>
            <a:endParaRPr lang="pt-BR" sz="1400" dirty="0"/>
          </a:p>
        </p:txBody>
      </p:sp>
      <p:sp>
        <p:nvSpPr>
          <p:cNvPr id="1643" name="Espaço Reservado para Texto 2">
            <a:extLst>
              <a:ext uri="{FF2B5EF4-FFF2-40B4-BE49-F238E27FC236}">
                <a16:creationId xmlns:a16="http://schemas.microsoft.com/office/drawing/2014/main" id="{86B7A9E0-08F9-7CD6-CCC4-ED484E4E69E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422525" y="45561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8AB9F3-8721-477F-BE59-5E6749FDE4AC}" type="datetime'''''''1''''7'''',''''''''''''''3''''''%'''''">
              <a:rPr lang="pt-BR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,3%</a:t>
            </a:fld>
            <a:endParaRPr lang="pt-BR" sz="1000" dirty="0"/>
          </a:p>
        </p:txBody>
      </p:sp>
      <p:sp>
        <p:nvSpPr>
          <p:cNvPr id="1407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409950" y="502126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BF0A7D-9D86-4635-8D95-CB8655B12C08}" type="datetime'''''''''''''''''''4''''''''''''''''''''''''''9,8%'''''''''''">
              <a:rPr lang="pt-BR" altLang="en-US" sz="1000" smtClean="0">
                <a:solidFill>
                  <a:schemeClr val="bg1"/>
                </a:solidFill>
              </a:rPr>
              <a:pPr/>
              <a:t>49,8%</a:t>
            </a:fld>
            <a:endParaRPr lang="pt-BR" sz="1000" dirty="0">
              <a:solidFill>
                <a:schemeClr val="bg1"/>
              </a:solidFill>
            </a:endParaRPr>
          </a:p>
        </p:txBody>
      </p:sp>
      <p:sp>
        <p:nvSpPr>
          <p:cNvPr id="1625" name="Espaço Reservado para Texto 2">
            <a:extLst>
              <a:ext uri="{FF2B5EF4-FFF2-40B4-BE49-F238E27FC236}">
                <a16:creationId xmlns:a16="http://schemas.microsoft.com/office/drawing/2014/main" id="{C12D78CD-1144-F6A7-FF2E-9E057AE04D5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409950" y="42878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4E0802-FD4C-4962-B87E-215AAC3975DC}" type="datetime'''2''''''''''''7,''''''''''''''''''''''''''''''''7''%'">
              <a:rPr lang="pt-BR" altLang="en-US" sz="1000" smtClean="0"/>
              <a:pPr/>
              <a:t>27,7%</a:t>
            </a:fld>
            <a:endParaRPr lang="pt-BR" sz="1000" dirty="0"/>
          </a:p>
        </p:txBody>
      </p:sp>
      <p:sp useBgFill="1">
        <p:nvSpPr>
          <p:cNvPr id="1492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252913" y="2058988"/>
            <a:ext cx="6381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5B1D6F-F1AC-4B15-96F4-7FBE26AA47C8}" type="datetime'''''''1''''''''''''5''''''2.''''''''''''''''''''''''''96''''1'">
              <a:rPr lang="pt-BR" altLang="en-US" sz="1400" smtClean="0"/>
              <a:pPr/>
              <a:t>152.961</a:t>
            </a:fld>
            <a:endParaRPr lang="pt-BR" sz="1400" dirty="0"/>
          </a:p>
        </p:txBody>
      </p:sp>
      <p:sp>
        <p:nvSpPr>
          <p:cNvPr id="1644" name="Espaço Reservado para Texto 2">
            <a:extLst>
              <a:ext uri="{FF2B5EF4-FFF2-40B4-BE49-F238E27FC236}">
                <a16:creationId xmlns:a16="http://schemas.microsoft.com/office/drawing/2014/main" id="{9AD6EAA7-C2F6-EF21-1CB4-426DB68D714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409950" y="38131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661866-7C58-4E40-A3C0-9EC9A14111C7}" type="datetime'''''2''2'',''''''''''''''5''''''''''''%'">
              <a:rPr lang="pt-BR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,5%</a:t>
            </a:fld>
            <a:endParaRPr lang="pt-BR" sz="1000" dirty="0"/>
          </a:p>
        </p:txBody>
      </p:sp>
      <p:sp>
        <p:nvSpPr>
          <p:cNvPr id="1626" name="Espaço Reservado para Texto 2">
            <a:extLst>
              <a:ext uri="{FF2B5EF4-FFF2-40B4-BE49-F238E27FC236}">
                <a16:creationId xmlns:a16="http://schemas.microsoft.com/office/drawing/2014/main" id="{1458A63A-5410-3D43-08D8-FF40C75A61C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395788" y="44513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ADCBF8-F4C4-402E-950C-17817F49C8B6}" type="datetime'''''''3''''''''''0'''''''',''''''''''''''''''''''''''3%'''">
              <a:rPr lang="pt-BR" altLang="en-US" sz="1000" smtClean="0"/>
              <a:pPr/>
              <a:t>30,3%</a:t>
            </a:fld>
            <a:endParaRPr lang="pt-BR" sz="1000" dirty="0"/>
          </a:p>
        </p:txBody>
      </p:sp>
      <p:sp>
        <p:nvSpPr>
          <p:cNvPr id="1375" name="Espaço Reservado para Texto 2">
            <a:extLst>
              <a:ext uri="{FF2B5EF4-FFF2-40B4-BE49-F238E27FC236}">
                <a16:creationId xmlns:a16="http://schemas.microsoft.com/office/drawing/2014/main" id="{6BD0F4F9-7D9E-908B-1F80-A3B1B447361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489325" y="5621338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169BCA-9AE3-4545-B89D-CBC6F0580994}" type="datetime'''''''''''''''''''''1''''''''2'''''''">
              <a:rPr lang="pt-BR" altLang="en-US" sz="1400" smtClean="0"/>
              <a:pPr/>
              <a:t>12</a:t>
            </a:fld>
            <a:endParaRPr lang="pt-BR" sz="1400" dirty="0"/>
          </a:p>
        </p:txBody>
      </p:sp>
      <p:sp>
        <p:nvSpPr>
          <p:cNvPr id="1410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395788" y="50895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39DD69-866C-4030-A614-68310E824436}" type="datetime'''''''''''''''''''''''''''5''''''''''''2,''''''''''4%'''''">
              <a:rPr lang="pt-BR" altLang="en-US" sz="1000" smtClean="0">
                <a:solidFill>
                  <a:schemeClr val="bg1"/>
                </a:solidFill>
              </a:rPr>
              <a:pPr/>
              <a:t>52,4%</a:t>
            </a:fld>
            <a:endParaRPr lang="pt-BR" sz="1000" dirty="0">
              <a:solidFill>
                <a:schemeClr val="bg1"/>
              </a:solidFill>
            </a:endParaRPr>
          </a:p>
        </p:txBody>
      </p:sp>
      <p:sp>
        <p:nvSpPr>
          <p:cNvPr id="1645" name="Espaço Reservado para Texto 2">
            <a:extLst>
              <a:ext uri="{FF2B5EF4-FFF2-40B4-BE49-F238E27FC236}">
                <a16:creationId xmlns:a16="http://schemas.microsoft.com/office/drawing/2014/main" id="{33CB2FD8-1DCB-D9E5-AE6E-2ACEAFAF9FF0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395788" y="40830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96FE55-6ED1-4E6B-9FE8-83079763847C}" type="datetime'''''''''1''7'''''''''',''''''''''''4''''''''%'''''''''''''''''">
              <a:rPr lang="pt-BR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,4%</a:t>
            </a:fld>
            <a:endParaRPr lang="pt-BR" sz="1000" dirty="0"/>
          </a:p>
        </p:txBody>
      </p:sp>
      <p:sp>
        <p:nvSpPr>
          <p:cNvPr id="1376" name="Espaço Reservado para Texto 2">
            <a:extLst>
              <a:ext uri="{FF2B5EF4-FFF2-40B4-BE49-F238E27FC236}">
                <a16:creationId xmlns:a16="http://schemas.microsoft.com/office/drawing/2014/main" id="{52A4B00E-9BB1-A0F5-99C6-3979F2FA85C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475163" y="5621338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0EA793-519C-434E-8BF5-2381EB8FA5F9}" type="datetime'''''1''''''''''3'''">
              <a:rPr lang="pt-BR" altLang="en-US" sz="1400" smtClean="0"/>
              <a:pPr/>
              <a:t>13</a:t>
            </a:fld>
            <a:endParaRPr lang="pt-BR" sz="1400" dirty="0"/>
          </a:p>
        </p:txBody>
      </p:sp>
      <p:sp>
        <p:nvSpPr>
          <p:cNvPr id="1412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383213" y="52911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ADD082-D5DE-45B7-BD97-3CCD3658B6D6}" type="datetime'6''''''5'',''8''''%'''''''''''''''''''''''''''">
              <a:rPr lang="pt-BR" altLang="en-US" sz="1000" smtClean="0">
                <a:solidFill>
                  <a:schemeClr val="bg1"/>
                </a:solidFill>
              </a:rPr>
              <a:pPr/>
              <a:t>65,8%</a:t>
            </a:fld>
            <a:endParaRPr lang="pt-BR" sz="1000" dirty="0">
              <a:solidFill>
                <a:schemeClr val="bg1"/>
              </a:solidFill>
            </a:endParaRPr>
          </a:p>
        </p:txBody>
      </p:sp>
      <p:sp>
        <p:nvSpPr>
          <p:cNvPr id="1627" name="Espaço Reservado para Texto 2">
            <a:extLst>
              <a:ext uri="{FF2B5EF4-FFF2-40B4-BE49-F238E27FC236}">
                <a16:creationId xmlns:a16="http://schemas.microsoft.com/office/drawing/2014/main" id="{DB829FCE-CD00-16FF-225A-0D604091F2E3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383213" y="50196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C7A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0488A3-DCF1-4542-8450-7914FA1F24C6}" type="datetime'''''''''''''''''2''2,''7''''''''''''''%'">
              <a:rPr lang="pt-BR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,7%</a:t>
            </a:fld>
            <a:endParaRPr lang="pt-BR" sz="1000" dirty="0"/>
          </a:p>
        </p:txBody>
      </p:sp>
      <p:sp>
        <p:nvSpPr>
          <p:cNvPr id="1377" name="Espaço Reservado para Texto 2">
            <a:extLst>
              <a:ext uri="{FF2B5EF4-FFF2-40B4-BE49-F238E27FC236}">
                <a16:creationId xmlns:a16="http://schemas.microsoft.com/office/drawing/2014/main" id="{978CB76A-4922-B605-0F10-08AEBD068632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462588" y="5621338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B338DA-6E4B-4150-ADAA-B572F980F1E5}" type="datetime'''''''''''''1''''4'''''''''''''''''''''''''''''''''''''''''''">
              <a:rPr lang="pt-BR" altLang="en-US" sz="1400" smtClean="0"/>
              <a:pPr/>
              <a:t>14</a:t>
            </a:fld>
            <a:endParaRPr lang="pt-BR" sz="1400" dirty="0"/>
          </a:p>
        </p:txBody>
      </p:sp>
      <p:sp>
        <p:nvSpPr>
          <p:cNvPr id="1646" name="Espaço Reservado para Texto 2">
            <a:extLst>
              <a:ext uri="{FF2B5EF4-FFF2-40B4-BE49-F238E27FC236}">
                <a16:creationId xmlns:a16="http://schemas.microsoft.com/office/drawing/2014/main" id="{64060BDC-1A72-5940-9243-35FE5F7CA5B9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849938" y="4913313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FB5FF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BA50356-E1B5-4CFB-A959-67B50ED501A2}" type="datetime'''''''''''''''''''''''''1''1'''',''''''6''''''''%'">
              <a:rPr lang="pt-BR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,6%</a:t>
            </a:fld>
            <a:endParaRPr lang="pt-BR" sz="1000" dirty="0"/>
          </a:p>
        </p:txBody>
      </p:sp>
      <p:sp>
        <p:nvSpPr>
          <p:cNvPr id="1415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6370638" y="51450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E987B3-9F60-4809-84F0-34AA3C2985AD}" type="datetime'''8''''''''''''''''''''''''''''''''7'''',''''''''7''''''''%'''">
              <a:rPr lang="pt-BR" altLang="en-US" sz="1000" smtClean="0">
                <a:solidFill>
                  <a:schemeClr val="bg1"/>
                </a:solidFill>
              </a:rPr>
              <a:pPr/>
              <a:t>87,7%</a:t>
            </a:fld>
            <a:endParaRPr lang="pt-BR" sz="1000" dirty="0">
              <a:solidFill>
                <a:schemeClr val="bg1"/>
              </a:solidFill>
            </a:endParaRPr>
          </a:p>
        </p:txBody>
      </p:sp>
      <p:sp>
        <p:nvSpPr>
          <p:cNvPr id="1352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65138" y="474980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958E1F-7CA9-40AD-8702-375EA9BFE28A}" type="datetime'''''37''''''1'">
              <a:rPr lang="pt-BR" altLang="en-US" sz="1400" smtClean="0"/>
              <a:pPr/>
              <a:t>371</a:t>
            </a:fld>
            <a:endParaRPr lang="pt-BR" sz="1400" dirty="0"/>
          </a:p>
        </p:txBody>
      </p:sp>
      <p:sp>
        <p:nvSpPr>
          <p:cNvPr id="1649" name="Espaço Reservado para Texto 2">
            <a:extLst>
              <a:ext uri="{FF2B5EF4-FFF2-40B4-BE49-F238E27FC236}">
                <a16:creationId xmlns:a16="http://schemas.microsoft.com/office/drawing/2014/main" id="{F810B605-A435-861D-F8F3-89ADE0245FB4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8810625" y="507047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FB5FF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06C42F8-658F-4372-BDC2-C6CC2FA4CFC2}" type="datetime'''''''''''''''''6,''''''''9''''%'''''''''''''''''''''''''''''">
              <a:rPr lang="pt-BR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,9%</a:t>
            </a:fld>
            <a:endParaRPr lang="pt-BR" sz="1000" dirty="0"/>
          </a:p>
        </p:txBody>
      </p:sp>
      <p:sp>
        <p:nvSpPr>
          <p:cNvPr id="1628" name="Espaço Reservado para Texto 2">
            <a:extLst>
              <a:ext uri="{FF2B5EF4-FFF2-40B4-BE49-F238E27FC236}">
                <a16:creationId xmlns:a16="http://schemas.microsoft.com/office/drawing/2014/main" id="{72289761-C819-22EA-B39C-CDE0CA70AA98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403975" y="4765675"/>
            <a:ext cx="287338" cy="136525"/>
          </a:xfrm>
          <a:prstGeom prst="rect">
            <a:avLst/>
          </a:prstGeom>
          <a:solidFill>
            <a:srgbClr val="A3C7A1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57BC91-E5F6-4932-8FBC-8B910CAAE1BD}" type="datetime'''''''7'''''''''''''''',''''''''9''''%'''''''''''''''''''''''">
              <a:rPr lang="pt-BR" altLang="en-US" sz="1000" smtClean="0"/>
              <a:pPr/>
              <a:t>7,9%</a:t>
            </a:fld>
            <a:endParaRPr lang="pt-BR" sz="1000" dirty="0"/>
          </a:p>
        </p:txBody>
      </p:sp>
      <p:sp>
        <p:nvSpPr>
          <p:cNvPr id="1378" name="Espaço Reservado para Texto 2">
            <a:extLst>
              <a:ext uri="{FF2B5EF4-FFF2-40B4-BE49-F238E27FC236}">
                <a16:creationId xmlns:a16="http://schemas.microsoft.com/office/drawing/2014/main" id="{AEEA24CB-5E21-9397-3B60-05A1984CC3A7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450013" y="5621338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AEDC80-957A-4A65-BBA0-E9925666A1ED}" type="datetime'''''''''1''''''5'''''''''''''''''">
              <a:rPr lang="pt-BR" altLang="en-US" sz="1400" smtClean="0"/>
              <a:pPr/>
              <a:t>15</a:t>
            </a:fld>
            <a:endParaRPr lang="pt-BR" sz="1400" dirty="0"/>
          </a:p>
        </p:txBody>
      </p:sp>
      <p:sp>
        <p:nvSpPr>
          <p:cNvPr id="1629" name="Espaço Reservado para Texto 2">
            <a:extLst>
              <a:ext uri="{FF2B5EF4-FFF2-40B4-BE49-F238E27FC236}">
                <a16:creationId xmlns:a16="http://schemas.microsoft.com/office/drawing/2014/main" id="{FA5F3828-F45E-436C-C116-B55E28045702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7356475" y="499427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4514B6-A148-43CC-9FBB-9D1FA454384F}" type="datetime'''''''''''''''8''''''''''''3,''''''''0''''''''''%'''''''''''''">
              <a:rPr lang="pt-BR" altLang="en-US" sz="1000" smtClean="0"/>
              <a:pPr/>
              <a:t>83,0%</a:t>
            </a:fld>
            <a:endParaRPr lang="pt-BR" sz="1000" dirty="0"/>
          </a:p>
        </p:txBody>
      </p:sp>
      <p:sp>
        <p:nvSpPr>
          <p:cNvPr id="1424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9331325" y="53943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66795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72D509-732B-43EB-B247-011685F816F5}" type="datetime'''''''''''''''''''48'''''''''''''''',''''5''%'''''''''''''''">
              <a:rPr lang="pt-BR" altLang="en-US" sz="1000" smtClean="0">
                <a:solidFill>
                  <a:schemeClr val="bg1"/>
                </a:solidFill>
              </a:rPr>
              <a:pPr/>
              <a:t>48,5%</a:t>
            </a:fld>
            <a:endParaRPr lang="pt-BR" sz="1000" dirty="0">
              <a:solidFill>
                <a:schemeClr val="bg1"/>
              </a:solidFill>
            </a:endParaRPr>
          </a:p>
        </p:txBody>
      </p:sp>
      <p:sp>
        <p:nvSpPr>
          <p:cNvPr id="1379" name="Espaço Reservado para Texto 2">
            <a:extLst>
              <a:ext uri="{FF2B5EF4-FFF2-40B4-BE49-F238E27FC236}">
                <a16:creationId xmlns:a16="http://schemas.microsoft.com/office/drawing/2014/main" id="{BC2C3366-F76E-0BAA-BD34-04743834E289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7435850" y="5621338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0A1D7A-F4A5-4CA7-BB30-93F89C7565B8}" type="datetime'''''''''''1''''6'''''''''''''''''''''''''''''''''">
              <a:rPr lang="pt-BR" altLang="en-US" sz="1400" smtClean="0"/>
              <a:pPr/>
              <a:t>16</a:t>
            </a:fld>
            <a:endParaRPr lang="pt-BR" sz="1400" dirty="0"/>
          </a:p>
        </p:txBody>
      </p:sp>
      <p:sp>
        <p:nvSpPr>
          <p:cNvPr id="1650" name="Espaço Reservado para Texto 2">
            <a:extLst>
              <a:ext uri="{FF2B5EF4-FFF2-40B4-BE49-F238E27FC236}">
                <a16:creationId xmlns:a16="http://schemas.microsoft.com/office/drawing/2014/main" id="{934FF391-819B-00E8-3E65-6072DC19C7B6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9798050" y="51895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DF88E0E-B06D-417E-8268-9457393648CD}" type="datetime'''''1''''''''''5'''''',''''5''''''''''''%'''''''''''''''''''''">
              <a:rPr lang="pt-BR" altLang="en-US" sz="1000" smtClean="0"/>
              <a:pPr/>
              <a:t>15,5%</a:t>
            </a:fld>
            <a:endParaRPr lang="pt-BR" sz="1000" dirty="0"/>
          </a:p>
        </p:txBody>
      </p:sp>
      <p:sp useBgFill="1">
        <p:nvSpPr>
          <p:cNvPr id="1494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8247063" y="3108325"/>
            <a:ext cx="54768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1542B1-AAC4-48DB-949A-C6A11C314562}" type="datetime'''''''''71''''.''''''''''''''''''4''''''''''''4''''''''''6'''">
              <a:rPr lang="pt-BR" altLang="en-US" sz="1400" smtClean="0">
                <a:effectLst/>
              </a:rPr>
              <a:pPr/>
              <a:t>71.446</a:t>
            </a:fld>
            <a:endParaRPr lang="pt-BR" sz="1400" dirty="0"/>
          </a:p>
        </p:txBody>
      </p:sp>
      <p:sp>
        <p:nvSpPr>
          <p:cNvPr id="1630" name="Espaço Reservado para Texto 2">
            <a:extLst>
              <a:ext uri="{FF2B5EF4-FFF2-40B4-BE49-F238E27FC236}">
                <a16:creationId xmlns:a16="http://schemas.microsoft.com/office/drawing/2014/main" id="{8355F16B-B07B-69C1-D79C-E850E6F8B269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8343900" y="53784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C7A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6BDBAB-C8DD-4353-86F8-A561DD66B3BB}" type="datetime'5''''''''''2'''''''''''',''4%'''''''''''''''''''''''''''''''''">
              <a:rPr lang="pt-BR" altLang="en-US" sz="1000" smtClean="0"/>
              <a:pPr/>
              <a:t>52,4%</a:t>
            </a:fld>
            <a:endParaRPr lang="pt-BR" sz="1000" dirty="0"/>
          </a:p>
        </p:txBody>
      </p:sp>
      <p:sp>
        <p:nvSpPr>
          <p:cNvPr id="1622" name="Espaço Reservado para Texto 2">
            <a:extLst>
              <a:ext uri="{FF2B5EF4-FFF2-40B4-BE49-F238E27FC236}">
                <a16:creationId xmlns:a16="http://schemas.microsoft.com/office/drawing/2014/main" id="{3C510BDA-5666-8B3C-58BA-02CA609E3F02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915988" y="492283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6BB3AF7-DD1F-42BF-BC05-074AC227C87E}" type="datetime'''''''''''''8'''''''''''',1''''''''''''%'''''''''''''''''''''">
              <a:rPr lang="pt-BR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,1%</a:t>
            </a:fld>
            <a:endParaRPr lang="pt-BR" sz="1000" dirty="0"/>
          </a:p>
        </p:txBody>
      </p:sp>
      <p:sp>
        <p:nvSpPr>
          <p:cNvPr id="1665" name="Espaço Reservado para Texto 2">
            <a:extLst>
              <a:ext uri="{FF2B5EF4-FFF2-40B4-BE49-F238E27FC236}">
                <a16:creationId xmlns:a16="http://schemas.microsoft.com/office/drawing/2014/main" id="{6E8AC697-0692-A24D-C4F0-4D0E72078C32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9798050" y="505301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863E510-7E1B-4A66-AB1B-B1DDB9B97F93}" type="datetime'''''''''''''''''''7'''''''',''''''''''''''''''''''''1''%'">
              <a:rPr lang="pt-BR" altLang="en-US" sz="1000" smtClean="0"/>
              <a:pPr/>
              <a:t>7,1%</a:t>
            </a:fld>
            <a:endParaRPr lang="pt-BR" sz="1000" dirty="0"/>
          </a:p>
        </p:txBody>
      </p:sp>
      <p:sp>
        <p:nvSpPr>
          <p:cNvPr id="1631" name="Espaço Reservado para Texto 2">
            <a:extLst>
              <a:ext uri="{FF2B5EF4-FFF2-40B4-BE49-F238E27FC236}">
                <a16:creationId xmlns:a16="http://schemas.microsoft.com/office/drawing/2014/main" id="{97EC2016-4E92-CA40-20C1-CF9F7678CCB0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9331325" y="52339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C7A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AD8505-516A-48A5-981D-5090F2FDC729}" type="datetime'''''''''''''''''''2''''''''''''8,''''''9%'''''''''''''''''">
              <a:rPr lang="pt-BR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,9%</a:t>
            </a:fld>
            <a:endParaRPr lang="pt-BR" sz="1000" dirty="0"/>
          </a:p>
        </p:txBody>
      </p:sp>
      <p:sp>
        <p:nvSpPr>
          <p:cNvPr id="1418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7356475" y="44069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66795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6FE6CB-3A40-4DF3-BF4B-5500BD34EB8C}" type="datetime'14'''''''''''''''''''''''''''''''',''''''''''''''''6%'''">
              <a:rPr lang="pt-BR" altLang="en-US" sz="1000" smtClean="0">
                <a:solidFill>
                  <a:schemeClr val="bg1"/>
                </a:solidFill>
                <a:effectLst/>
              </a:rPr>
              <a:pPr/>
              <a:t>14,6%</a:t>
            </a:fld>
            <a:endParaRPr lang="pt-BR" sz="1000" dirty="0">
              <a:solidFill>
                <a:schemeClr val="bg1"/>
              </a:solidFill>
            </a:endParaRPr>
          </a:p>
        </p:txBody>
      </p:sp>
      <p:sp>
        <p:nvSpPr>
          <p:cNvPr id="1398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449263" y="527843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6E9443-390F-4180-A5A9-0A018F9CCC11}" type="datetime'''''''72'''''''''',''''''''''''''4''''''''''''''''%'''">
              <a:rPr lang="pt-BR" altLang="en-US" sz="1000" smtClean="0">
                <a:solidFill>
                  <a:schemeClr val="bg1"/>
                </a:solidFill>
              </a:rPr>
              <a:pPr/>
              <a:t>72,4%</a:t>
            </a:fld>
            <a:endParaRPr lang="pt-BR" sz="1000" dirty="0">
              <a:solidFill>
                <a:schemeClr val="bg1"/>
              </a:solidFill>
            </a:endParaRPr>
          </a:p>
        </p:txBody>
      </p:sp>
      <p:sp>
        <p:nvSpPr>
          <p:cNvPr id="1426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10317163" y="5373688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66795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51FD7A-0FA4-4BBC-96CA-ABF37E90ED83}" type="datetime'''''''64'''',''''''''''6''''%'''''''''''''''''''''''">
              <a:rPr lang="pt-BR" altLang="en-US" sz="1000" smtClean="0">
                <a:solidFill>
                  <a:schemeClr val="bg1"/>
                </a:solidFill>
              </a:rPr>
              <a:pPr/>
              <a:t>64,6%</a:t>
            </a:fld>
            <a:endParaRPr lang="pt-BR" sz="1000" dirty="0">
              <a:solidFill>
                <a:schemeClr val="bg1"/>
              </a:solidFill>
            </a:endParaRPr>
          </a:p>
        </p:txBody>
      </p:sp>
      <p:sp useBgFill="1">
        <p:nvSpPr>
          <p:cNvPr id="1493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5286375" y="2855913"/>
            <a:ext cx="54768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ED28B6-0FD6-4772-977F-A629EED28277}" type="datetime'''9''''''''''''''''''''''''''''''''''1.0''''''''''''''''4''7'">
              <a:rPr lang="pt-BR" altLang="en-US" sz="1400" smtClean="0">
                <a:effectLst/>
              </a:rPr>
              <a:pPr/>
              <a:t>91.047</a:t>
            </a:fld>
            <a:endParaRPr lang="pt-BR" sz="1400" dirty="0"/>
          </a:p>
        </p:txBody>
      </p:sp>
      <p:sp>
        <p:nvSpPr>
          <p:cNvPr id="1624" name="Espaço Reservado para Texto 2">
            <a:extLst>
              <a:ext uri="{FF2B5EF4-FFF2-40B4-BE49-F238E27FC236}">
                <a16:creationId xmlns:a16="http://schemas.microsoft.com/office/drawing/2014/main" id="{7FC10C85-3E0A-4998-4AC5-69966748DE84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2422525" y="4772025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F94254-A8D9-4E7B-851D-643D236723E4}" type="datetime'''''''''''''''2''4,''5''''''%'''''''''''''''''''''''''''">
              <a:rPr lang="pt-BR" altLang="en-US" sz="1000" smtClean="0"/>
              <a:pPr/>
              <a:t>24,5%</a:t>
            </a:fld>
            <a:endParaRPr lang="pt-BR" sz="1000" dirty="0"/>
          </a:p>
        </p:txBody>
      </p:sp>
      <p:sp useBgFill="1">
        <p:nvSpPr>
          <p:cNvPr id="1495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11207750" y="3127375"/>
            <a:ext cx="54768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24B00F-E22D-44F8-B58C-9F997C9D8C2F}" type="datetime'''6''''''''''''''''''''''''9''.''''8''''''''''65'''''''''''''">
              <a:rPr lang="pt-BR" altLang="en-US" sz="1400" smtClean="0"/>
              <a:pPr/>
              <a:t>69.865</a:t>
            </a:fld>
            <a:endParaRPr lang="pt-BR" sz="1400" dirty="0"/>
          </a:p>
        </p:txBody>
      </p:sp>
      <p:sp>
        <p:nvSpPr>
          <p:cNvPr id="1429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11304588" y="538480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66795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08DEF0-CA0B-4EC5-9FBC-A19F0EA75F2B}" type="datetime'7''''''''''''''''''''''''6'',0''''''%'''''''''''''''''''''''">
              <a:rPr lang="pt-BR" altLang="en-US" sz="1000" smtClean="0">
                <a:solidFill>
                  <a:schemeClr val="bg1"/>
                </a:solidFill>
              </a:rPr>
              <a:pPr/>
              <a:t>76,0%</a:t>
            </a:fld>
            <a:endParaRPr lang="pt-BR" sz="1000" dirty="0">
              <a:solidFill>
                <a:schemeClr val="bg1"/>
              </a:solidFill>
            </a:endParaRPr>
          </a:p>
        </p:txBody>
      </p:sp>
      <p:sp>
        <p:nvSpPr>
          <p:cNvPr id="1633" name="Espaço Reservado para Texto 2">
            <a:extLst>
              <a:ext uri="{FF2B5EF4-FFF2-40B4-BE49-F238E27FC236}">
                <a16:creationId xmlns:a16="http://schemas.microsoft.com/office/drawing/2014/main" id="{0EE6B968-1C99-CB02-9A25-8BDE194728F1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11304588" y="5253038"/>
            <a:ext cx="352425" cy="136525"/>
          </a:xfrm>
          <a:prstGeom prst="rect">
            <a:avLst/>
          </a:prstGeom>
          <a:solidFill>
            <a:srgbClr val="A3C7A1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D31CCF-4E62-40D4-A2D0-5368A8586286}" type="datetime'1''''''''''''''''''5'''''''''',''''''''''''''''''''0''''%'">
              <a:rPr lang="pt-BR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,0%</a:t>
            </a:fld>
            <a:endParaRPr lang="pt-BR" sz="1000" dirty="0"/>
          </a:p>
        </p:txBody>
      </p:sp>
      <p:sp>
        <p:nvSpPr>
          <p:cNvPr id="1421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8343900" y="5175250"/>
            <a:ext cx="352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6A5BF7C-DB82-4BC0-80B9-110BF9EB3BC6}" type="datetime'''''4''''''''''0'''''',''''''''''7''''''''%'''''''''''">
              <a:rPr lang="pt-BR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,7%</a:t>
            </a:fld>
            <a:endParaRPr lang="pt-BR" sz="1000" dirty="0">
              <a:solidFill>
                <a:schemeClr val="bg1"/>
              </a:solidFill>
            </a:endParaRPr>
          </a:p>
        </p:txBody>
      </p:sp>
      <p:sp>
        <p:nvSpPr>
          <p:cNvPr id="1383" name="Espaço Reservado para Texto 2">
            <a:extLst>
              <a:ext uri="{FF2B5EF4-FFF2-40B4-BE49-F238E27FC236}">
                <a16:creationId xmlns:a16="http://schemas.microsoft.com/office/drawing/2014/main" id="{708D2A20-10AA-C958-9BF2-D8E08EDE547C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11383963" y="5621338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94CC34-E097-4DEE-B658-6645D335C3D6}" type="datetime'2''''''''''''0'''''''''''''''''''''''''''''">
              <a:rPr lang="pt-BR" altLang="en-US" sz="1400" smtClean="0"/>
              <a:pPr/>
              <a:t>20</a:t>
            </a:fld>
            <a:endParaRPr lang="pt-BR" sz="1400" dirty="0"/>
          </a:p>
        </p:txBody>
      </p:sp>
      <p:sp>
        <p:nvSpPr>
          <p:cNvPr id="1353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1450975" y="4995863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1E5451-5D99-4C86-A122-310CA91E5306}" type="datetime'''''''''''''''''''''''''''''''''''''2''''''1''7'''''''''''''''">
              <a:rPr lang="pt-BR" altLang="en-US" sz="1400" smtClean="0"/>
              <a:pPr/>
              <a:t>217</a:t>
            </a:fld>
            <a:endParaRPr lang="pt-BR" sz="1400" dirty="0"/>
          </a:p>
        </p:txBody>
      </p:sp>
      <p:sp>
        <p:nvSpPr>
          <p:cNvPr id="1354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2438400" y="431800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B0B71E-7B24-44BE-9F00-AA7B1E319B2A}" type="datetime'''''''''''''''''''''''6''''4''''0'''''''''''''''''''''">
              <a:rPr lang="pt-BR" altLang="en-US" sz="1400" smtClean="0"/>
              <a:pPr/>
              <a:t>640</a:t>
            </a:fld>
            <a:endParaRPr lang="pt-BR" sz="1400" dirty="0"/>
          </a:p>
        </p:txBody>
      </p:sp>
      <p:sp>
        <p:nvSpPr>
          <p:cNvPr id="1388" name="Espaço Reservado para Texto 2">
            <a:extLst>
              <a:ext uri="{FF2B5EF4-FFF2-40B4-BE49-F238E27FC236}">
                <a16:creationId xmlns:a16="http://schemas.microsoft.com/office/drawing/2014/main" id="{D573C5C6-7945-A7EA-C1C5-27DEDE3E19FF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3357563" y="345122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C5E743-5CE9-4513-9BF9-4373EEE41185}" type="datetime'''''''''''''''''1.''''''''''''''''''1''''''8''''''''''1'''''">
              <a:rPr lang="pt-BR" altLang="en-US" sz="1400" smtClean="0"/>
              <a:pPr/>
              <a:t>1.181</a:t>
            </a:fld>
            <a:endParaRPr lang="pt-BR" sz="1400" dirty="0"/>
          </a:p>
        </p:txBody>
      </p:sp>
      <p:sp>
        <p:nvSpPr>
          <p:cNvPr id="1382" name="Espaço Reservado para Texto 2">
            <a:extLst>
              <a:ext uri="{FF2B5EF4-FFF2-40B4-BE49-F238E27FC236}">
                <a16:creationId xmlns:a16="http://schemas.microsoft.com/office/drawing/2014/main" id="{E00ECA14-FDAB-DF83-69ED-0F33CBB09C14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10396538" y="5621338"/>
            <a:ext cx="1936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427C3D-B1E4-415F-BF4A-BADE5792B436}" type="datetime'''''''''''''''''''''''''''''''''''''''''''''''19'''''''''''">
              <a:rPr lang="pt-BR" altLang="en-US" sz="1400" smtClean="0"/>
              <a:pPr/>
              <a:t>19</a:t>
            </a:fld>
            <a:endParaRPr lang="pt-BR" sz="1400" dirty="0"/>
          </a:p>
        </p:txBody>
      </p:sp>
      <p:sp>
        <p:nvSpPr>
          <p:cNvPr id="1390" name="Espaço Reservado para Texto 2">
            <a:extLst>
              <a:ext uri="{FF2B5EF4-FFF2-40B4-BE49-F238E27FC236}">
                <a16:creationId xmlns:a16="http://schemas.microsoft.com/office/drawing/2014/main" id="{3F8948DF-3F9E-AC88-561F-C436B032475D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5399088" y="4729163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CB0F07-098E-4073-8A95-A8F8B1A30B86}" type="datetime'''''''3''''''''''''''8''''''''''''''''''''''''''''''''4'''''">
              <a:rPr lang="pt-BR" altLang="en-US" sz="1400" smtClean="0"/>
              <a:pPr/>
              <a:t>384</a:t>
            </a:fld>
            <a:endParaRPr lang="pt-BR" sz="1400" dirty="0"/>
          </a:p>
        </p:txBody>
      </p:sp>
      <p:sp>
        <p:nvSpPr>
          <p:cNvPr id="1391" name="Espaço Reservado para Texto 2">
            <a:extLst>
              <a:ext uri="{FF2B5EF4-FFF2-40B4-BE49-F238E27FC236}">
                <a16:creationId xmlns:a16="http://schemas.microsoft.com/office/drawing/2014/main" id="{B22F685A-DB11-8539-6E54-28DD3A8E786F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6386513" y="4549775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9B4AE3-28FB-423B-A778-44CB353AB7B3}" type="datetime'''''''''''''''''''''''''''4''''''''9''''''''''''5'''''''''''">
              <a:rPr lang="pt-BR" altLang="en-US" sz="1400" smtClean="0"/>
              <a:pPr/>
              <a:t>495</a:t>
            </a:fld>
            <a:endParaRPr lang="pt-BR" sz="1400" dirty="0"/>
          </a:p>
        </p:txBody>
      </p:sp>
      <p:sp>
        <p:nvSpPr>
          <p:cNvPr id="1392" name="Espaço Reservado para Texto 2">
            <a:extLst>
              <a:ext uri="{FF2B5EF4-FFF2-40B4-BE49-F238E27FC236}">
                <a16:creationId xmlns:a16="http://schemas.microsoft.com/office/drawing/2014/main" id="{84559B21-C43B-D0E4-018C-BAC41BD68F34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7372350" y="4141788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C208D8-46D1-401C-B998-5DF5200C97F1}" type="datetime'7''''''''''''''5''''''0'''''''''''''''">
              <a:rPr lang="pt-BR" altLang="en-US" sz="1400" smtClean="0"/>
              <a:pPr/>
              <a:t>750</a:t>
            </a:fld>
            <a:endParaRPr lang="pt-BR" sz="1400" dirty="0"/>
          </a:p>
        </p:txBody>
      </p:sp>
      <p:sp>
        <p:nvSpPr>
          <p:cNvPr id="1393" name="Espaço Reservado para Texto 2">
            <a:extLst>
              <a:ext uri="{FF2B5EF4-FFF2-40B4-BE49-F238E27FC236}">
                <a16:creationId xmlns:a16="http://schemas.microsoft.com/office/drawing/2014/main" id="{21A20095-5335-045A-0A69-2FD5B50FBD94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8359775" y="4905375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BBD7ED-6AC3-405F-908D-43C79D18607D}" type="datetime'''''''2''''''''''''''''''''''''''''7''''''''''''4'''">
              <a:rPr lang="pt-BR" altLang="en-US" sz="1400" smtClean="0"/>
              <a:pPr/>
              <a:t>274</a:t>
            </a:fld>
            <a:endParaRPr lang="pt-BR" sz="1400" dirty="0"/>
          </a:p>
        </p:txBody>
      </p:sp>
      <p:sp>
        <p:nvSpPr>
          <p:cNvPr id="1394" name="Espaço Reservado para Texto 2">
            <a:extLst>
              <a:ext uri="{FF2B5EF4-FFF2-40B4-BE49-F238E27FC236}">
                <a16:creationId xmlns:a16="http://schemas.microsoft.com/office/drawing/2014/main" id="{2443C38D-6488-2ED4-08C6-759D6F7F17E3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9347200" y="493395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237896-7C80-41AE-BF05-41EA2CF71230}" type="datetime'''''''''2''''''''''''''''''''''''''''5''''''6'''''''''''''''">
              <a:rPr lang="pt-BR" altLang="en-US" sz="1400" smtClean="0"/>
              <a:pPr/>
              <a:t>256</a:t>
            </a:fld>
            <a:endParaRPr lang="pt-BR" sz="1400" dirty="0"/>
          </a:p>
        </p:txBody>
      </p:sp>
      <p:sp>
        <p:nvSpPr>
          <p:cNvPr id="1395" name="Espaço Reservado para Texto 2">
            <a:extLst>
              <a:ext uri="{FF2B5EF4-FFF2-40B4-BE49-F238E27FC236}">
                <a16:creationId xmlns:a16="http://schemas.microsoft.com/office/drawing/2014/main" id="{3F77CE3D-4440-F8A0-D420-A748FB1E3C5D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10333038" y="4975225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A3557A-7FEF-4199-A25A-9AD17FDDA1EC}" type="datetime'''''''''''''''2''''''''''''''''''''''''''''''''31'">
              <a:rPr lang="pt-BR" altLang="en-US" sz="1400" smtClean="0"/>
              <a:pPr/>
              <a:t>231</a:t>
            </a:fld>
            <a:endParaRPr lang="pt-BR" sz="1400" dirty="0"/>
          </a:p>
        </p:txBody>
      </p:sp>
      <p:sp>
        <p:nvSpPr>
          <p:cNvPr id="1396" name="Espaço Reservado para Texto 2">
            <a:extLst>
              <a:ext uri="{FF2B5EF4-FFF2-40B4-BE49-F238E27FC236}">
                <a16:creationId xmlns:a16="http://schemas.microsoft.com/office/drawing/2014/main" id="{449669F9-EF11-869E-8687-F8B8B51ABA7A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11320463" y="5056188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E49C6B-00E2-4BAC-AA51-0D5BA22A6A4C}" type="datetime'''''''''''''''''''''''''''''''''''''''''''''''''''''1''8''''0'">
              <a:rPr lang="pt-BR" altLang="en-US" sz="1400" smtClean="0"/>
              <a:pPr/>
              <a:t>180</a:t>
            </a:fld>
            <a:endParaRPr lang="pt-BR" sz="1400" dirty="0"/>
          </a:p>
        </p:txBody>
      </p:sp>
      <p:sp>
        <p:nvSpPr>
          <p:cNvPr id="1360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5765800" y="5956300"/>
            <a:ext cx="576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400" dirty="0">
                <a:effectLst/>
              </a:rPr>
              <a:t>Semana</a:t>
            </a:r>
            <a:endParaRPr lang="pt-BR" sz="1400" dirty="0"/>
          </a:p>
        </p:txBody>
      </p:sp>
      <p:sp>
        <p:nvSpPr>
          <p:cNvPr id="1389" name="Espaço Reservado para Texto 2">
            <a:extLst>
              <a:ext uri="{FF2B5EF4-FFF2-40B4-BE49-F238E27FC236}">
                <a16:creationId xmlns:a16="http://schemas.microsoft.com/office/drawing/2014/main" id="{9E20B1DA-45AA-88C2-4CD3-C43382FC8845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4411663" y="3800475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0BFCDE-F75A-43E5-8024-87D1D7728050}" type="datetime'''''''''9''''''''''''''''''''''''6''''''''''2'''''''">
              <a:rPr lang="pt-BR" altLang="en-US" sz="1400" smtClean="0"/>
              <a:pPr/>
              <a:t>962</a:t>
            </a:fld>
            <a:endParaRPr lang="pt-BR" sz="1400" dirty="0"/>
          </a:p>
        </p:txBody>
      </p:sp>
      <p:cxnSp>
        <p:nvCxnSpPr>
          <p:cNvPr id="1356" name="Conector reto 1355">
            <a:extLst>
              <a:ext uri="{FF2B5EF4-FFF2-40B4-BE49-F238E27FC236}">
                <a16:creationId xmlns:a16="http://schemas.microsoft.com/office/drawing/2014/main" id="{F7A686F7-A47A-A317-BC56-768DC41D056B}"/>
              </a:ext>
            </a:extLst>
          </p:cNvPr>
          <p:cNvCxnSpPr/>
          <p:nvPr>
            <p:custDataLst>
              <p:tags r:id="rId77"/>
            </p:custDataLst>
          </p:nvPr>
        </p:nvCxnSpPr>
        <p:spPr bwMode="gray">
          <a:xfrm>
            <a:off x="6264275" y="1535113"/>
            <a:ext cx="222250" cy="0"/>
          </a:xfrm>
          <a:prstGeom prst="line">
            <a:avLst/>
          </a:prstGeom>
          <a:ln w="28575" cap="rnd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63" name="Retângulo 1662">
            <a:extLst>
              <a:ext uri="{FF2B5EF4-FFF2-40B4-BE49-F238E27FC236}">
                <a16:creationId xmlns:a16="http://schemas.microsoft.com/office/drawing/2014/main" id="{F0434E92-88DE-402B-271C-7523C46FB837}"/>
              </a:ext>
            </a:extLst>
          </p:cNvPr>
          <p:cNvSpPr/>
          <p:nvPr>
            <p:custDataLst>
              <p:tags r:id="rId78"/>
            </p:custDataLst>
          </p:nvPr>
        </p:nvSpPr>
        <p:spPr bwMode="auto">
          <a:xfrm>
            <a:off x="9764713" y="1441450"/>
            <a:ext cx="250825" cy="187325"/>
          </a:xfrm>
          <a:prstGeom prst="rect">
            <a:avLst/>
          </a:prstGeom>
          <a:solidFill>
            <a:srgbClr val="CFB5F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70" name="Retângulo 1369">
            <a:extLst>
              <a:ext uri="{FF2B5EF4-FFF2-40B4-BE49-F238E27FC236}">
                <a16:creationId xmlns:a16="http://schemas.microsoft.com/office/drawing/2014/main" id="{500EC235-D06A-8EC4-AB08-4A87AE4DA444}"/>
              </a:ext>
            </a:extLst>
          </p:cNvPr>
          <p:cNvSpPr/>
          <p:nvPr>
            <p:custDataLst>
              <p:tags r:id="rId79"/>
            </p:custDataLst>
          </p:nvPr>
        </p:nvSpPr>
        <p:spPr bwMode="auto">
          <a:xfrm>
            <a:off x="7105650" y="1441450"/>
            <a:ext cx="250825" cy="187325"/>
          </a:xfrm>
          <a:prstGeom prst="rect">
            <a:avLst/>
          </a:prstGeom>
          <a:solidFill>
            <a:srgbClr val="46679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39" name="Retângulo 1638">
            <a:extLst>
              <a:ext uri="{FF2B5EF4-FFF2-40B4-BE49-F238E27FC236}">
                <a16:creationId xmlns:a16="http://schemas.microsoft.com/office/drawing/2014/main" id="{35B7A325-28CC-6579-1EB6-5B703C3323BF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8296275" y="1441450"/>
            <a:ext cx="250825" cy="187325"/>
          </a:xfrm>
          <a:prstGeom prst="rect">
            <a:avLst/>
          </a:prstGeom>
          <a:solidFill>
            <a:srgbClr val="A3C7A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69" name="Retângulo 1668">
            <a:extLst>
              <a:ext uri="{FF2B5EF4-FFF2-40B4-BE49-F238E27FC236}">
                <a16:creationId xmlns:a16="http://schemas.microsoft.com/office/drawing/2014/main" id="{98422B3A-3F47-D2FB-3A8C-E585711457E7}"/>
              </a:ext>
            </a:extLst>
          </p:cNvPr>
          <p:cNvSpPr/>
          <p:nvPr>
            <p:custDataLst>
              <p:tags r:id="rId81"/>
            </p:custDataLst>
          </p:nvPr>
        </p:nvSpPr>
        <p:spPr bwMode="auto">
          <a:xfrm>
            <a:off x="10639425" y="1441450"/>
            <a:ext cx="250825" cy="187325"/>
          </a:xfrm>
          <a:prstGeom prst="rect">
            <a:avLst/>
          </a:prstGeom>
          <a:solidFill>
            <a:srgbClr val="F2C037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46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6551613" y="1452563"/>
            <a:ext cx="4524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B5652CF-235C-4AD7-9145-1E26673E244D}" type="datetime'''L''''''''''e''''''''''''''''''''a''''d''''''''''s '''">
              <a:rPr lang="pt-BR" altLang="en-US" sz="1400" smtClean="0"/>
              <a:pPr/>
              <a:t>Leads </a:t>
            </a:fld>
            <a:endParaRPr lang="pt-BR" sz="1400" dirty="0"/>
          </a:p>
        </p:txBody>
      </p:sp>
      <p:sp>
        <p:nvSpPr>
          <p:cNvPr id="1621" name="Espaço Reservado para Texto 2">
            <a:extLst>
              <a:ext uri="{FF2B5EF4-FFF2-40B4-BE49-F238E27FC236}">
                <a16:creationId xmlns:a16="http://schemas.microsoft.com/office/drawing/2014/main" id="{C48D15A4-293B-964D-811D-C840C439A920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8597900" y="1452563"/>
            <a:ext cx="10652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33715C5-F967-4AB4-9B91-9F9FB6C59594}" type="datetime'''''''O''U''T ''OF'''''''' H''''''''''''O''M''''E'''''''">
              <a:rPr lang="pt-BR" altLang="en-US" sz="1400" smtClean="0"/>
              <a:pPr/>
              <a:t>OUT OF HOME</a:t>
            </a:fld>
            <a:endParaRPr lang="pt-BR" sz="1400" dirty="0"/>
          </a:p>
        </p:txBody>
      </p:sp>
      <p:sp>
        <p:nvSpPr>
          <p:cNvPr id="1366" name="Espaço Reservado para Texto 2">
            <a:extLst>
              <a:ext uri="{FF2B5EF4-FFF2-40B4-BE49-F238E27FC236}">
                <a16:creationId xmlns:a16="http://schemas.microsoft.com/office/drawing/2014/main" id="{71DC9E12-9FAC-73DE-098F-866312C7733E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7407275" y="1452563"/>
            <a:ext cx="787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46436F0-F13C-410D-BA6F-3960053DFD58}" type="datetime'''''T''''''V'''' ''''''A''''''''''B''E''''R''''T''A'">
              <a:rPr lang="pt-BR" altLang="en-US" sz="1400" smtClean="0"/>
              <a:pPr/>
              <a:t>TV ABERTA</a:t>
            </a:fld>
            <a:endParaRPr lang="pt-BR" sz="1400" dirty="0"/>
          </a:p>
        </p:txBody>
      </p:sp>
      <p:sp>
        <p:nvSpPr>
          <p:cNvPr id="1640" name="Espaço Reservado para Texto 2">
            <a:extLst>
              <a:ext uri="{FF2B5EF4-FFF2-40B4-BE49-F238E27FC236}">
                <a16:creationId xmlns:a16="http://schemas.microsoft.com/office/drawing/2014/main" id="{9589D006-942E-2DA3-34AE-F4562808F250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10066338" y="1452563"/>
            <a:ext cx="471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024B53C-94B7-44E3-B26A-B16AE0C47303}" type="datetime'''''''''''''''''''''RÁ''''''''''''''''''DIO'''''''''''">
              <a:rPr lang="pt-BR" altLang="en-US" sz="1400" smtClean="0"/>
              <a:pPr/>
              <a:t>RÁDIO</a:t>
            </a:fld>
            <a:endParaRPr lang="pt-BR" sz="1400" dirty="0"/>
          </a:p>
        </p:txBody>
      </p:sp>
      <p:sp>
        <p:nvSpPr>
          <p:cNvPr id="1664" name="Espaço Reservado para Texto 2">
            <a:extLst>
              <a:ext uri="{FF2B5EF4-FFF2-40B4-BE49-F238E27FC236}">
                <a16:creationId xmlns:a16="http://schemas.microsoft.com/office/drawing/2014/main" id="{CBEC5AD9-F510-8637-5091-A88405447B42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10941050" y="1452563"/>
            <a:ext cx="5635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F04E48-3799-4C8A-A6BB-2E0DCCE32DC2}" type="datetime'''J''''O''''''R''N''''''''''''''A''''''L'''''''''''''''''''">
              <a:rPr lang="pt-BR" altLang="en-US" sz="1400" smtClean="0"/>
              <a:pPr/>
              <a:t>JORNAL</a:t>
            </a:fld>
            <a:endParaRPr lang="pt-BR" sz="1400" dirty="0"/>
          </a:p>
        </p:txBody>
      </p:sp>
      <p:sp>
        <p:nvSpPr>
          <p:cNvPr id="1365" name="CaixaDeTexto 1364">
            <a:extLst>
              <a:ext uri="{FF2B5EF4-FFF2-40B4-BE49-F238E27FC236}">
                <a16:creationId xmlns:a16="http://schemas.microsoft.com/office/drawing/2014/main" id="{93186BB2-73B1-E2C2-9A82-84942B44FF19}"/>
              </a:ext>
            </a:extLst>
          </p:cNvPr>
          <p:cNvSpPr txBox="1"/>
          <p:nvPr/>
        </p:nvSpPr>
        <p:spPr>
          <a:xfrm>
            <a:off x="368921" y="1299131"/>
            <a:ext cx="3225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i="1" dirty="0"/>
              <a:t>Investimento Semanal (em R$ k):</a:t>
            </a:r>
          </a:p>
        </p:txBody>
      </p:sp>
      <p:cxnSp>
        <p:nvCxnSpPr>
          <p:cNvPr id="1367" name="Conector reto 1366">
            <a:extLst>
              <a:ext uri="{FF2B5EF4-FFF2-40B4-BE49-F238E27FC236}">
                <a16:creationId xmlns:a16="http://schemas.microsoft.com/office/drawing/2014/main" id="{B4F2F96C-0668-6018-93D3-BC7D91AFA9AC}"/>
              </a:ext>
            </a:extLst>
          </p:cNvPr>
          <p:cNvCxnSpPr>
            <a:cxnSpLocks/>
          </p:cNvCxnSpPr>
          <p:nvPr/>
        </p:nvCxnSpPr>
        <p:spPr>
          <a:xfrm>
            <a:off x="426720" y="1668463"/>
            <a:ext cx="3097530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05" name="CaixaDeTexto 1404">
            <a:extLst>
              <a:ext uri="{FF2B5EF4-FFF2-40B4-BE49-F238E27FC236}">
                <a16:creationId xmlns:a16="http://schemas.microsoft.com/office/drawing/2014/main" id="{D89FCC6C-18C9-0451-DB80-CE17F0876B0F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957BD"/>
                </a:solidFill>
              </a:rPr>
              <a:t>A cidade de São Paulo gerou em média 100k leads por semana, sendo a 12ª </a:t>
            </a:r>
            <a:endParaRPr lang="pt-BR" sz="2800" b="1" baseline="30000" dirty="0">
              <a:solidFill>
                <a:srgbClr val="3957BD"/>
              </a:solidFill>
            </a:endParaRPr>
          </a:p>
          <a:p>
            <a:r>
              <a:rPr lang="pt-BR" sz="2800" b="1" dirty="0">
                <a:solidFill>
                  <a:srgbClr val="3957BD"/>
                </a:solidFill>
              </a:rPr>
              <a:t>e a 13ª semana as melhores da campanha, com estratégias semelhantes.</a:t>
            </a:r>
            <a:endParaRPr lang="pt-BR" sz="2800" baseline="30000" dirty="0">
              <a:solidFill>
                <a:srgbClr val="3957B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0898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>
            <a:extLst>
              <a:ext uri="{FF2B5EF4-FFF2-40B4-BE49-F238E27FC236}">
                <a16:creationId xmlns:a16="http://schemas.microsoft.com/office/drawing/2014/main" id="{E55CEC74-5427-D628-5068-3D7380C188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6452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16" name="Objeto 15" hidden="1">
                        <a:extLst>
                          <a:ext uri="{FF2B5EF4-FFF2-40B4-BE49-F238E27FC236}">
                            <a16:creationId xmlns:a16="http://schemas.microsoft.com/office/drawing/2014/main" id="{E55CEC74-5427-D628-5068-3D7380C188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ângulo 7">
            <a:extLst>
              <a:ext uri="{FF2B5EF4-FFF2-40B4-BE49-F238E27FC236}">
                <a16:creationId xmlns:a16="http://schemas.microsoft.com/office/drawing/2014/main" id="{D98C22AC-AC0F-920A-24E7-D96F9F603301}"/>
              </a:ext>
            </a:extLst>
          </p:cNvPr>
          <p:cNvSpPr/>
          <p:nvPr/>
        </p:nvSpPr>
        <p:spPr>
          <a:xfrm>
            <a:off x="0" y="1681859"/>
            <a:ext cx="12191999" cy="1494534"/>
          </a:xfrm>
          <a:prstGeom prst="rect">
            <a:avLst/>
          </a:prstGeom>
          <a:solidFill>
            <a:srgbClr val="117F3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405" name="CaixaDeTexto 1404">
            <a:extLst>
              <a:ext uri="{FF2B5EF4-FFF2-40B4-BE49-F238E27FC236}">
                <a16:creationId xmlns:a16="http://schemas.microsoft.com/office/drawing/2014/main" id="{D89FCC6C-18C9-0451-DB80-CE17F0876B0F}"/>
              </a:ext>
            </a:extLst>
          </p:cNvPr>
          <p:cNvSpPr txBox="1"/>
          <p:nvPr/>
        </p:nvSpPr>
        <p:spPr>
          <a:xfrm>
            <a:off x="334963" y="296863"/>
            <a:ext cx="1152207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957BD"/>
                </a:solidFill>
              </a:rPr>
              <a:t>As cidades foram reunidas em 3 grupos buscando ver pontos efetivos e negativos das campanhas, analisando os resultados diários e</a:t>
            </a:r>
          </a:p>
          <a:p>
            <a:r>
              <a:rPr lang="pt-BR" sz="2800" b="1" dirty="0">
                <a:solidFill>
                  <a:srgbClr val="3957BD"/>
                </a:solidFill>
              </a:rPr>
              <a:t>semanais.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8CFAA1AA-DAA8-3F2F-E02D-387502913EEE}"/>
              </a:ext>
            </a:extLst>
          </p:cNvPr>
          <p:cNvSpPr/>
          <p:nvPr/>
        </p:nvSpPr>
        <p:spPr>
          <a:xfrm>
            <a:off x="-12700" y="3385246"/>
            <a:ext cx="12191999" cy="1384300"/>
          </a:xfrm>
          <a:prstGeom prst="rect">
            <a:avLst/>
          </a:prstGeom>
          <a:solidFill>
            <a:srgbClr val="3957B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5D707B01-01CC-1E38-6D48-D82A9BCC2616}"/>
              </a:ext>
            </a:extLst>
          </p:cNvPr>
          <p:cNvSpPr/>
          <p:nvPr/>
        </p:nvSpPr>
        <p:spPr>
          <a:xfrm>
            <a:off x="1" y="4978399"/>
            <a:ext cx="12191999" cy="1654175"/>
          </a:xfrm>
          <a:prstGeom prst="rect">
            <a:avLst/>
          </a:prstGeom>
          <a:solidFill>
            <a:srgbClr val="C647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E52065ED-7405-19BA-487B-1A20BDF3B92E}"/>
              </a:ext>
            </a:extLst>
          </p:cNvPr>
          <p:cNvSpPr txBox="1"/>
          <p:nvPr/>
        </p:nvSpPr>
        <p:spPr>
          <a:xfrm>
            <a:off x="334963" y="1755193"/>
            <a:ext cx="1152207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>
                <a:solidFill>
                  <a:schemeClr val="bg1"/>
                </a:solidFill>
              </a:rPr>
              <a:t>São Paulo, Rio de Janeiro e Porto Alegre: as melhores semanas de desempenho das campanhas se iniciou com o final de semana com um veículo de mídia específico e sendo reforçado ao longo da semana com um mix de 3 tipos de veículos simultâneos.  O pico de leads acontecia no dia com maior investimento da semana, geralmente terça ou quarta.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CC1A7EDF-CB39-FC7C-523B-0E8059892D3B}"/>
              </a:ext>
            </a:extLst>
          </p:cNvPr>
          <p:cNvSpPr txBox="1"/>
          <p:nvPr/>
        </p:nvSpPr>
        <p:spPr>
          <a:xfrm>
            <a:off x="322261" y="3647878"/>
            <a:ext cx="115220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>
                <a:solidFill>
                  <a:schemeClr val="bg1"/>
                </a:solidFill>
              </a:rPr>
              <a:t>Curitiba Brasília e Florianópolis: problemas com o final de semana diversificando os meios de publicidades e algumas semanas utilizando apenas um meio de comunicação, o que prejudicou as campanhas.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AAAC7104-B3AC-0482-4C07-6ADF17F8DE7D}"/>
              </a:ext>
            </a:extLst>
          </p:cNvPr>
          <p:cNvSpPr txBox="1"/>
          <p:nvPr/>
        </p:nvSpPr>
        <p:spPr>
          <a:xfrm>
            <a:off x="427207" y="5124252"/>
            <a:ext cx="115220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>
                <a:solidFill>
                  <a:schemeClr val="bg1"/>
                </a:solidFill>
              </a:rPr>
              <a:t>Belo Horizonte, Goiânia e Campinas: problemas com a consistência do investimento, tendo dias específicos de alto investimento e outros sem a recorrência. Ainda sendo necessário entender os melhores dias de comunicação e meio de publicidade.</a:t>
            </a:r>
          </a:p>
        </p:txBody>
      </p:sp>
    </p:spTree>
    <p:extLst>
      <p:ext uri="{BB962C8B-B14F-4D97-AF65-F5344CB8AC3E}">
        <p14:creationId xmlns:p14="http://schemas.microsoft.com/office/powerpoint/2010/main" val="12063063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Laptop em cima de mesa&#10;&#10;Descrição gerada automaticamente">
            <a:extLst>
              <a:ext uri="{FF2B5EF4-FFF2-40B4-BE49-F238E27FC236}">
                <a16:creationId xmlns:a16="http://schemas.microsoft.com/office/drawing/2014/main" id="{FE9761ED-DD4D-6767-241F-A3DB67C2B0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83"/>
            <a:ext cx="12192000" cy="6855434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47CF8432-13FA-111F-EFAF-1B27A863DC6F}"/>
              </a:ext>
            </a:extLst>
          </p:cNvPr>
          <p:cNvSpPr/>
          <p:nvPr/>
        </p:nvSpPr>
        <p:spPr>
          <a:xfrm>
            <a:off x="1002225" y="296863"/>
            <a:ext cx="3495368" cy="63373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4000" dirty="0">
                <a:solidFill>
                  <a:schemeClr val="tx1"/>
                </a:solidFill>
              </a:rPr>
              <a:t>Área de Operação das Cidades</a:t>
            </a:r>
          </a:p>
          <a:p>
            <a:r>
              <a:rPr lang="pt-BR" sz="3600" dirty="0">
                <a:solidFill>
                  <a:schemeClr val="tx1"/>
                </a:solidFill>
              </a:rPr>
              <a:t>1</a:t>
            </a:r>
            <a:r>
              <a:rPr lang="pt-BR" sz="3600" baseline="30000" dirty="0">
                <a:solidFill>
                  <a:schemeClr val="tx1"/>
                </a:solidFill>
              </a:rPr>
              <a:t>0</a:t>
            </a:r>
            <a:r>
              <a:rPr lang="pt-BR" sz="3600" dirty="0">
                <a:solidFill>
                  <a:schemeClr val="tx1"/>
                </a:solidFill>
              </a:rPr>
              <a:t> Semestre 2021</a:t>
            </a: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  <a:p>
            <a:endParaRPr lang="pt-BR" sz="4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18524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3271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4" imgW="421" imgH="420" progId="TCLayout.ActiveDocument.1">
                  <p:embed/>
                </p:oleObj>
              </mc:Choice>
              <mc:Fallback>
                <p:oleObj name="Slide do think-cell" r:id="rId44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CaixaDeTexto 83">
            <a:extLst>
              <a:ext uri="{FF2B5EF4-FFF2-40B4-BE49-F238E27FC236}">
                <a16:creationId xmlns:a16="http://schemas.microsoft.com/office/drawing/2014/main" id="{3CE662F3-51A4-F9DB-D7CA-B4298C71DBCB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957BD"/>
                </a:solidFill>
              </a:rPr>
              <a:t>As cidades de São Paulo, Goiânia e Belo Horizonte apresentam maior oportunidade expansão da operação nos bairros, em valores absolutos.</a:t>
            </a:r>
            <a:endParaRPr lang="pt-BR" sz="2800" baseline="30000" dirty="0">
              <a:solidFill>
                <a:srgbClr val="3957BD"/>
              </a:solidFill>
            </a:endParaRPr>
          </a:p>
        </p:txBody>
      </p:sp>
      <p:sp>
        <p:nvSpPr>
          <p:cNvPr id="87" name="CaixaDeTexto 86">
            <a:extLst>
              <a:ext uri="{FF2B5EF4-FFF2-40B4-BE49-F238E27FC236}">
                <a16:creationId xmlns:a16="http://schemas.microsoft.com/office/drawing/2014/main" id="{95983569-DF73-54A2-81A0-412FBA3C2314}"/>
              </a:ext>
            </a:extLst>
          </p:cNvPr>
          <p:cNvSpPr txBox="1"/>
          <p:nvPr/>
        </p:nvSpPr>
        <p:spPr>
          <a:xfrm>
            <a:off x="368921" y="1642031"/>
            <a:ext cx="2758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i="1" dirty="0"/>
              <a:t>Operação nos Bairros (#N) :</a:t>
            </a:r>
          </a:p>
        </p:txBody>
      </p:sp>
      <p:cxnSp>
        <p:nvCxnSpPr>
          <p:cNvPr id="88" name="Conector reto 87">
            <a:extLst>
              <a:ext uri="{FF2B5EF4-FFF2-40B4-BE49-F238E27FC236}">
                <a16:creationId xmlns:a16="http://schemas.microsoft.com/office/drawing/2014/main" id="{4FFA6C9F-921E-94C8-37CE-DE19BCD45787}"/>
              </a:ext>
            </a:extLst>
          </p:cNvPr>
          <p:cNvCxnSpPr>
            <a:cxnSpLocks/>
          </p:cNvCxnSpPr>
          <p:nvPr/>
        </p:nvCxnSpPr>
        <p:spPr>
          <a:xfrm>
            <a:off x="426720" y="2011363"/>
            <a:ext cx="2575243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1BFBED01-579D-9683-C8FC-1A885BFE28E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6450013"/>
              </p:ext>
            </p:extLst>
          </p:nvPr>
        </p:nvGraphicFramePr>
        <p:xfrm>
          <a:off x="344488" y="2289175"/>
          <a:ext cx="10723562" cy="2898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cxnSp>
        <p:nvCxnSpPr>
          <p:cNvPr id="243" name="Conector reto 242">
            <a:extLst>
              <a:ext uri="{FF2B5EF4-FFF2-40B4-BE49-F238E27FC236}">
                <a16:creationId xmlns:a16="http://schemas.microsoft.com/office/drawing/2014/main" id="{4D95E99B-ADD1-7351-43A9-F92CAEF186CD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10648950" y="4887914"/>
            <a:ext cx="98425" cy="1317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4" name="Conector reto 243">
            <a:extLst>
              <a:ext uri="{FF2B5EF4-FFF2-40B4-BE49-F238E27FC236}">
                <a16:creationId xmlns:a16="http://schemas.microsoft.com/office/drawing/2014/main" id="{696BEB07-8095-1A2B-582D-E72B2BF69B53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5956300" y="4860925"/>
            <a:ext cx="984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7" name="Conector reto 236">
            <a:extLst>
              <a:ext uri="{FF2B5EF4-FFF2-40B4-BE49-F238E27FC236}">
                <a16:creationId xmlns:a16="http://schemas.microsoft.com/office/drawing/2014/main" id="{11CF2BBD-2848-EB21-9F9F-ADD64DDAF56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3609975" y="4759325"/>
            <a:ext cx="984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2" name="Conector reto 241">
            <a:extLst>
              <a:ext uri="{FF2B5EF4-FFF2-40B4-BE49-F238E27FC236}">
                <a16:creationId xmlns:a16="http://schemas.microsoft.com/office/drawing/2014/main" id="{FC643150-F402-2F89-BFE5-D01D8ECDDE38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2436813" y="4743450"/>
            <a:ext cx="984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9" name="Conector reto 238">
            <a:extLst>
              <a:ext uri="{FF2B5EF4-FFF2-40B4-BE49-F238E27FC236}">
                <a16:creationId xmlns:a16="http://schemas.microsoft.com/office/drawing/2014/main" id="{C297D55F-3427-0880-777F-0C8FB17BD7AC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4783138" y="4829175"/>
            <a:ext cx="984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Conector reto 235">
            <a:extLst>
              <a:ext uri="{FF2B5EF4-FFF2-40B4-BE49-F238E27FC236}">
                <a16:creationId xmlns:a16="http://schemas.microsoft.com/office/drawing/2014/main" id="{29FF72D0-9D83-4855-794F-DCFF67F3A6DA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1263650" y="3225800"/>
            <a:ext cx="984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8" name="Conector reto 237">
            <a:extLst>
              <a:ext uri="{FF2B5EF4-FFF2-40B4-BE49-F238E27FC236}">
                <a16:creationId xmlns:a16="http://schemas.microsoft.com/office/drawing/2014/main" id="{71EC3820-893D-118A-24B3-0D08CA2A9F4B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7129463" y="4887913"/>
            <a:ext cx="98425" cy="127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1" name="Conector reto 240">
            <a:extLst>
              <a:ext uri="{FF2B5EF4-FFF2-40B4-BE49-F238E27FC236}">
                <a16:creationId xmlns:a16="http://schemas.microsoft.com/office/drawing/2014/main" id="{1B9918AF-609E-422D-2001-A572F7E88EB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8302625" y="4887913"/>
            <a:ext cx="98425" cy="984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0" name="Conector reto 239">
            <a:extLst>
              <a:ext uri="{FF2B5EF4-FFF2-40B4-BE49-F238E27FC236}">
                <a16:creationId xmlns:a16="http://schemas.microsoft.com/office/drawing/2014/main" id="{66603534-A9F2-32BE-8D2F-BA9504563F61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H="1">
            <a:off x="9475788" y="4887913"/>
            <a:ext cx="98425" cy="1031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0" name="Espaço Reservado para Texto 2">
            <a:extLst>
              <a:ext uri="{FF2B5EF4-FFF2-40B4-BE49-F238E27FC236}">
                <a16:creationId xmlns:a16="http://schemas.microsoft.com/office/drawing/2014/main" id="{70E31BAE-C161-AF11-4577-B0095135AC0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926638" y="5164138"/>
            <a:ext cx="9445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560013-EE4A-4FA7-B304-E304D2557193}" type="datetime'''''''''''F''''''l''ori''a''''''''''n''''ó''''''''''''''polis'">
              <a:rPr lang="pt-BR" altLang="en-US" sz="1400" smtClean="0"/>
              <a:pPr/>
              <a:t>Florianópolis</a:t>
            </a:fld>
            <a:endParaRPr lang="pt-BR" sz="1400" dirty="0"/>
          </a:p>
        </p:txBody>
      </p:sp>
      <p:sp>
        <p:nvSpPr>
          <p:cNvPr id="225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81563" y="4637088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2C86D8-B5F3-4E6C-8C4E-F9DF2D9B3512}" type="datetime'''''''''''''4''''''''''''''''''5''''7''''''''''''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57</a:t>
            </a:fld>
            <a:br>
              <a:rPr lang="pt-BR" altLang="en-US" sz="1400">
                <a:effectLst/>
              </a:rPr>
            </a:br>
            <a:r>
              <a:rPr lang="pt-BR" altLang="en-US" sz="1400">
                <a:effectLst/>
              </a:rPr>
              <a:t>(</a:t>
            </a:r>
            <a:fld id="{D1CD7D78-0429-4E47-831D-24EEA29EE221}" type="datetime'''''''''''''''''''''''''''''''8''''''''4''''''''''''''''''''%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4%</a:t>
            </a:fld>
            <a:r>
              <a:rPr lang="pt-BR" sz="1400"/>
              <a:t>)</a:t>
            </a:r>
            <a:endParaRPr lang="pt-BR" sz="1400" dirty="0"/>
          </a:p>
        </p:txBody>
      </p:sp>
      <p:sp>
        <p:nvSpPr>
          <p:cNvPr id="226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535238" y="4551363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EDD6EDA-19B5-461F-88C6-A4026D9463FB}" type="datetime'''''''''''''''''''''''''''''6''''''9''''''''7''''''''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97</a:t>
            </a:fld>
            <a:br>
              <a:rPr lang="pt-BR" altLang="en-US" sz="1400">
                <a:effectLst/>
              </a:rPr>
            </a:br>
            <a:r>
              <a:rPr lang="pt-BR" altLang="en-US" sz="1400">
                <a:effectLst/>
              </a:rPr>
              <a:t>(</a:t>
            </a:r>
            <a:fld id="{4D428A3D-6A7F-4BFF-853F-0EC009ABA254}" type="datetime'''''''''''''''''''''''''9''''''''''''2%''''''''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2%</a:t>
            </a:fld>
            <a:r>
              <a:rPr lang="pt-BR" sz="1400"/>
              <a:t>)</a:t>
            </a:r>
            <a:endParaRPr lang="pt-BR" sz="1400" dirty="0"/>
          </a:p>
        </p:txBody>
      </p:sp>
      <p:sp>
        <p:nvSpPr>
          <p:cNvPr id="223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708400" y="4567238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A9FF01-F9CF-4055-B63F-CB9C31EFF954}" type="datetime'''''''''''''''5''''''''''0''''''''''''''''''''4''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04</a:t>
            </a:fld>
            <a:br>
              <a:rPr lang="pt-BR" altLang="en-US" sz="1400">
                <a:effectLst/>
              </a:rPr>
            </a:br>
            <a:r>
              <a:rPr lang="pt-BR" altLang="en-US" sz="1400">
                <a:effectLst/>
              </a:rPr>
              <a:t>(</a:t>
            </a:r>
            <a:fld id="{B6285ED4-AE43-49DC-929F-A8A92D712814}" type="datetime'''''''''''''''''''''''''''''''78''''''''''''%''''''''''''''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8%</a:t>
            </a:fld>
            <a:r>
              <a:rPr lang="pt-BR" sz="1400"/>
              <a:t>)</a:t>
            </a:r>
            <a:endParaRPr lang="pt-BR" sz="1400" dirty="0"/>
          </a:p>
        </p:txBody>
      </p:sp>
      <p:sp>
        <p:nvSpPr>
          <p:cNvPr id="107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819400" y="5164138"/>
            <a:ext cx="1079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E895EB-A4D9-40B1-AF22-0B991464634F}" type="datetime'B''e''''''''lo Ho''''''''rizo''n''''''''''''''t''''e'''''">
              <a:rPr lang="pt-BR" altLang="en-US" sz="1400" smtClean="0"/>
              <a:pPr/>
              <a:t>Belo Horizonte</a:t>
            </a:fld>
            <a:endParaRPr lang="pt-BR" sz="1400" dirty="0"/>
          </a:p>
        </p:txBody>
      </p:sp>
      <p:sp>
        <p:nvSpPr>
          <p:cNvPr id="116" name="Espaço Reservado para Texto 2">
            <a:extLst>
              <a:ext uri="{FF2B5EF4-FFF2-40B4-BE49-F238E27FC236}">
                <a16:creationId xmlns:a16="http://schemas.microsoft.com/office/drawing/2014/main" id="{8A7144F6-27DE-FFE9-2797-0935C89867A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173538" y="5164138"/>
            <a:ext cx="7191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359F91-671C-4F5B-BF06-8E2472C1A0EA}" type="datetime'''''''''''''''Cam''''p''i''''''''n''''''a''s'''''">
              <a:rPr lang="pt-BR" altLang="en-US" sz="1400" smtClean="0"/>
              <a:pPr/>
              <a:t>Campinas</a:t>
            </a:fld>
            <a:endParaRPr lang="pt-BR" sz="1400" dirty="0"/>
          </a:p>
        </p:txBody>
      </p:sp>
      <p:sp>
        <p:nvSpPr>
          <p:cNvPr id="227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054725" y="4668838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E3D73C6-9B3A-421E-A59E-B19BE9F54CBD}" type="datetime'''''''''''''''''''''5''''''0''''''3''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03</a:t>
            </a:fld>
            <a:br>
              <a:rPr lang="pt-BR" altLang="en-US" sz="1400">
                <a:effectLst/>
              </a:rPr>
            </a:br>
            <a:r>
              <a:rPr lang="pt-BR" altLang="en-US" sz="1400">
                <a:effectLst/>
              </a:rPr>
              <a:t>(</a:t>
            </a:r>
            <a:fld id="{8B6329E6-E0B6-4072-B64C-936C43C8CF47}" type="datetime'''''9''''''''''''''''''''''5%''''''''''''''''''''''''''''''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5%</a:t>
            </a:fld>
            <a:r>
              <a:rPr lang="pt-BR" sz="1400"/>
              <a:t>)</a:t>
            </a:r>
            <a:endParaRPr lang="pt-BR" sz="1400" dirty="0"/>
          </a:p>
        </p:txBody>
      </p:sp>
      <p:sp>
        <p:nvSpPr>
          <p:cNvPr id="224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227888" y="4695825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ACFB6D5-3E6D-48BB-98D6-9DDF064B5E9C}" type="datetime'''''''''''''''''''''''''2''''''''3''''''''''2''''''''''''''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32</a:t>
            </a:fld>
            <a:br>
              <a:rPr lang="pt-BR" altLang="en-US" sz="1400">
                <a:effectLst/>
              </a:rPr>
            </a:br>
            <a:r>
              <a:rPr lang="pt-BR" altLang="en-US" sz="1400">
                <a:effectLst/>
              </a:rPr>
              <a:t>(</a:t>
            </a:r>
            <a:fld id="{FE76853F-2304-427F-8DFF-0363C6265492}" type="datetime'67''''''''''''''''''''%''''''''''''''''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7%</a:t>
            </a:fld>
            <a:r>
              <a:rPr lang="pt-BR" sz="1400"/>
              <a:t>)</a:t>
            </a:r>
            <a:endParaRPr lang="pt-BR" sz="1400" dirty="0"/>
          </a:p>
        </p:txBody>
      </p:sp>
      <p:sp>
        <p:nvSpPr>
          <p:cNvPr id="119" name="Espaço Reservado para Texto 2">
            <a:extLst>
              <a:ext uri="{FF2B5EF4-FFF2-40B4-BE49-F238E27FC236}">
                <a16:creationId xmlns:a16="http://schemas.microsoft.com/office/drawing/2014/main" id="{2D431405-A1AE-5EC3-CE6E-E76F36DC6AA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903413" y="5164138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DC10C9-05B2-43FB-A57B-F80F576AF120}" type="datetime'''''''''G''''''''''''o''''i''''''ân''''''''i''''a'">
              <a:rPr lang="pt-BR" altLang="en-US" sz="1400" smtClean="0"/>
              <a:pPr/>
              <a:t>Goiânia</a:t>
            </a:fld>
            <a:endParaRPr lang="pt-BR" sz="1400" dirty="0"/>
          </a:p>
        </p:txBody>
      </p:sp>
      <p:sp>
        <p:nvSpPr>
          <p:cNvPr id="143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0747375" y="4695825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CC97770-7573-4FB2-8093-7D9D7B7D50F4}" type="datetime'''''''''''''''''''''''''''''''''''''''''''''''7''''''''''6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6</a:t>
            </a:fld>
            <a:br>
              <a:rPr lang="pt-BR" altLang="en-US" sz="1400">
                <a:effectLst/>
              </a:rPr>
            </a:br>
            <a:r>
              <a:rPr lang="pt-BR" altLang="en-US" sz="1400">
                <a:effectLst/>
              </a:rPr>
              <a:t>(</a:t>
            </a:r>
            <a:fld id="{E5B84EB3-BD8F-47A7-B499-996B6194C8A3}" type="datetime'5''''6''''''''%''''''''''''''''''''''''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6%</a:t>
            </a:fld>
            <a:r>
              <a:rPr lang="pt-BR" altLang="en-US" sz="1400">
                <a:effectLst/>
              </a:rPr>
              <a:t>)</a:t>
            </a:r>
            <a:endParaRPr lang="pt-BR" sz="1400" dirty="0"/>
          </a:p>
        </p:txBody>
      </p:sp>
      <p:sp>
        <p:nvSpPr>
          <p:cNvPr id="108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365875" y="5164138"/>
            <a:ext cx="10255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CF85EF-DDC9-42AC-8919-6E64263F89F5}" type="datetime'''Ri''''''o ''''d''''e'''''''' ''''Ja''''''n''''''''eiro'''''">
              <a:rPr lang="pt-BR" altLang="en-US" sz="1400" smtClean="0"/>
              <a:pPr/>
              <a:t>Rio de Janeiro</a:t>
            </a:fld>
            <a:endParaRPr lang="pt-BR" sz="1400" dirty="0"/>
          </a:p>
        </p:txBody>
      </p:sp>
      <p:sp>
        <p:nvSpPr>
          <p:cNvPr id="138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401050" y="4695825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694109F-AAAF-4875-AC7F-6C815340ADB5}" type="datetime'''1''''''''''''''2''''''''''''''''''''''1''''''''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1</a:t>
            </a:fld>
            <a:br>
              <a:rPr lang="pt-BR" altLang="en-US" sz="1400">
                <a:effectLst/>
              </a:rPr>
            </a:br>
            <a:r>
              <a:rPr lang="pt-BR" altLang="en-US" sz="1400">
                <a:effectLst/>
              </a:rPr>
              <a:t>(</a:t>
            </a:r>
            <a:fld id="{37112659-1812-444F-ACA8-67CFFFCDC9FE}" type="datetime'''''''''''''6''''''''2%''''''''''''''''''''''''''''''''''''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2%</a:t>
            </a:fld>
            <a:r>
              <a:rPr lang="pt-BR" altLang="en-US" sz="1400">
                <a:effectLst/>
              </a:rPr>
              <a:t>)</a:t>
            </a:r>
            <a:endParaRPr lang="pt-BR" sz="1400" dirty="0"/>
          </a:p>
        </p:txBody>
      </p:sp>
      <p:sp>
        <p:nvSpPr>
          <p:cNvPr id="222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362075" y="3033713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4D5EE0A-53DE-4DEF-81B6-1142B3110302}" type="datetime'''''''''''1.9''''''''''''''''''''''''''''''''4''''''5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945</a:t>
            </a:fld>
            <a:br>
              <a:rPr lang="pt-BR" altLang="en-US" sz="1400" dirty="0">
                <a:effectLst/>
              </a:rPr>
            </a:br>
            <a:r>
              <a:rPr lang="pt-BR" altLang="en-US" sz="1400" dirty="0">
                <a:effectLst/>
              </a:rPr>
              <a:t>(</a:t>
            </a:r>
            <a:fld id="{028130AB-A335-43FC-BD44-A5D8CA675049}" type="datetime'6''''''''''''''''''''''3''''''''''''''''''''''''''%''''''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3%</a:t>
            </a:fld>
            <a:r>
              <a:rPr lang="pt-BR" sz="1400" dirty="0"/>
              <a:t>)</a:t>
            </a:r>
          </a:p>
        </p:txBody>
      </p:sp>
      <p:sp>
        <p:nvSpPr>
          <p:cNvPr id="118" name="Espaço Reservado para Texto 2">
            <a:extLst>
              <a:ext uri="{FF2B5EF4-FFF2-40B4-BE49-F238E27FC236}">
                <a16:creationId xmlns:a16="http://schemas.microsoft.com/office/drawing/2014/main" id="{27652B8A-9863-1877-7785-2B50270AE3D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594600" y="5164138"/>
            <a:ext cx="915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C63644-04C1-4340-BC92-14D536993AA6}" type="datetime'P''o''''''''''''''''''r''t''''o A''''''''le''''g''''r''e'">
              <a:rPr lang="pt-BR" altLang="en-US" sz="1400" smtClean="0"/>
              <a:pPr/>
              <a:t>Porto Alegre</a:t>
            </a:fld>
            <a:endParaRPr lang="pt-BR" sz="1400" dirty="0"/>
          </a:p>
        </p:txBody>
      </p:sp>
      <p:sp>
        <p:nvSpPr>
          <p:cNvPr id="144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215563" y="4741863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43D557-F19C-4642-BF20-5A9FB84A41BE}" type="datetime'''''1''''3''''''''''''5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5</a:t>
            </a:fld>
            <a:endParaRPr lang="pt-BR" sz="1600" b="1" dirty="0"/>
          </a:p>
        </p:txBody>
      </p:sp>
      <p:sp>
        <p:nvSpPr>
          <p:cNvPr id="136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9574213" y="4695825"/>
            <a:ext cx="4667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FD6835-B6F1-45C4-9EB8-6AF6A5E70482}" type="datetime'''''''''''''''''''''''''''''9''''''8''''''''''''''''''''''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8</a:t>
            </a:fld>
            <a:br>
              <a:rPr lang="pt-BR" altLang="en-US" sz="1400">
                <a:effectLst/>
              </a:rPr>
            </a:br>
            <a:r>
              <a:rPr lang="pt-BR" altLang="en-US" sz="1400">
                <a:effectLst/>
              </a:rPr>
              <a:t>(</a:t>
            </a:r>
            <a:fld id="{1CCB0D76-FF3F-4AC5-9CF4-84154D56747A}" type="datetime'5''''''''''''''''''''''''5%''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5%</a:t>
            </a:fld>
            <a:r>
              <a:rPr lang="pt-BR" altLang="en-US" sz="1400">
                <a:effectLst/>
              </a:rPr>
              <a:t>)</a:t>
            </a:r>
            <a:endParaRPr lang="pt-BR" sz="1400" dirty="0"/>
          </a:p>
        </p:txBody>
      </p:sp>
      <p:sp>
        <p:nvSpPr>
          <p:cNvPr id="139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869238" y="4689475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19BB7D-4BD1-4540-A158-E655165B8EAA}" type="datetime'''''1''''''''''''9''5''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5</a:t>
            </a:fld>
            <a:endParaRPr lang="pt-BR" sz="1600" b="1" dirty="0"/>
          </a:p>
        </p:txBody>
      </p:sp>
      <p:sp>
        <p:nvSpPr>
          <p:cNvPr id="105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55638" y="5164138"/>
            <a:ext cx="7159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083ABE-E73C-4372-8772-B2C30A8B4023}" type="datetime'S''''ão'' ''''''''''''''''''''P''''a''''''''u''l''o'''''''''''">
              <a:rPr lang="pt-BR" altLang="en-US" sz="1400" smtClean="0"/>
              <a:pPr/>
              <a:t>São Paulo</a:t>
            </a:fld>
            <a:endParaRPr lang="pt-BR" sz="1400" dirty="0"/>
          </a:p>
        </p:txBody>
      </p:sp>
      <p:sp>
        <p:nvSpPr>
          <p:cNvPr id="117" name="Espaço Reservado para Texto 2">
            <a:extLst>
              <a:ext uri="{FF2B5EF4-FFF2-40B4-BE49-F238E27FC236}">
                <a16:creationId xmlns:a16="http://schemas.microsoft.com/office/drawing/2014/main" id="{17632349-28A4-7248-B7F7-AC01B87D9C3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932863" y="5164138"/>
            <a:ext cx="585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70837C-CB4F-42CA-B8AB-78E11365D869}" type="datetime'''C''''''''u''r''''i''''''''''''t''''iba'''''''''">
              <a:rPr lang="pt-BR" altLang="en-US" sz="1400" smtClean="0"/>
              <a:pPr/>
              <a:t>Curitiba</a:t>
            </a:fld>
            <a:endParaRPr lang="pt-BR" sz="1400" dirty="0"/>
          </a:p>
        </p:txBody>
      </p:sp>
      <p:sp>
        <p:nvSpPr>
          <p:cNvPr id="129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50888" y="2127250"/>
            <a:ext cx="5238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E135C8-FFEE-420C-AC53-53F29A8B1034}" type="datetime'''''3''''.''''''''''''''''11''2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112</a:t>
            </a:fld>
            <a:endParaRPr lang="pt-BR" sz="1600" b="1" dirty="0"/>
          </a:p>
        </p:txBody>
      </p:sp>
      <p:sp>
        <p:nvSpPr>
          <p:cNvPr id="141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003425" y="4192588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902618E-F07A-4371-AC32-03279A5D767B}" type="datetime'''''''''''''''''7''''''''''''''''''''''''''''''61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1</a:t>
            </a:fld>
            <a:endParaRPr lang="pt-BR" sz="1600" b="1" dirty="0"/>
          </a:p>
        </p:txBody>
      </p:sp>
      <p:sp>
        <p:nvSpPr>
          <p:cNvPr id="131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3176588" y="4294188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DACC63-57A1-40B8-9DE0-E8AFBEA047B2}" type="datetime'''''''''''''''''''''6''45''''''''''''''''''''''''''''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45</a:t>
            </a:fld>
            <a:endParaRPr lang="pt-BR" sz="1600" b="1" dirty="0"/>
          </a:p>
        </p:txBody>
      </p:sp>
      <p:sp>
        <p:nvSpPr>
          <p:cNvPr id="134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349750" y="4384675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14A57E-A245-4CA2-882E-2CC57C599F0D}" type="datetime'''''''''''''''''''5''''''''''''''4''''''''''''''''''''3''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3</a:t>
            </a:fld>
            <a:endParaRPr lang="pt-BR" sz="1600" b="1" dirty="0"/>
          </a:p>
        </p:txBody>
      </p:sp>
      <p:sp>
        <p:nvSpPr>
          <p:cNvPr id="146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522913" y="4395788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E74FB7-CCF9-4598-A469-E1631830DADE}" type="datetime'''''''''''''''5''''''2''''''''''''''''''''''9''''''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9</a:t>
            </a:fld>
            <a:endParaRPr lang="pt-BR" sz="1600" b="1" dirty="0"/>
          </a:p>
        </p:txBody>
      </p:sp>
      <p:sp>
        <p:nvSpPr>
          <p:cNvPr id="132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696075" y="4554538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B2763C-89CA-419A-9360-6FA739A37995}" type="datetime'''''''3''''''''4''''''''''''''8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8</a:t>
            </a:fld>
            <a:endParaRPr lang="pt-BR" sz="1600" b="1" dirty="0"/>
          </a:p>
        </p:txBody>
      </p:sp>
      <p:sp>
        <p:nvSpPr>
          <p:cNvPr id="137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9042400" y="4703763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C74D30-7891-49F3-955F-A99E711B1189}" type="datetime'''1''''7''''''''''''''''''9'''''">
              <a:rPr lang="pt-BR" altLang="en-US" sz="16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9</a:t>
            </a:fld>
            <a:endParaRPr lang="pt-BR" sz="1600" b="1" dirty="0"/>
          </a:p>
        </p:txBody>
      </p:sp>
      <p:sp>
        <p:nvSpPr>
          <p:cNvPr id="121" name="Espaço Reservado para Texto 2">
            <a:extLst>
              <a:ext uri="{FF2B5EF4-FFF2-40B4-BE49-F238E27FC236}">
                <a16:creationId xmlns:a16="http://schemas.microsoft.com/office/drawing/2014/main" id="{06FB3D78-18FD-B894-9A96-6140CD004F6B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438775" y="5164138"/>
            <a:ext cx="533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460431-9CB0-4F19-AE80-24D5B82F0674}" type="datetime'B''''''''''r''''''''''''a''s''í''l''i''''''''''''a'''''">
              <a:rPr lang="pt-BR" altLang="en-US" sz="1400" smtClean="0"/>
              <a:pPr/>
              <a:t>Brasília</a:t>
            </a:fld>
            <a:endParaRPr lang="pt-BR" sz="1400" dirty="0"/>
          </a:p>
        </p:txBody>
      </p:sp>
      <p:sp>
        <p:nvSpPr>
          <p:cNvPr id="156" name="Retângulo 155">
            <a:extLst>
              <a:ext uri="{FF2B5EF4-FFF2-40B4-BE49-F238E27FC236}">
                <a16:creationId xmlns:a16="http://schemas.microsoft.com/office/drawing/2014/main" id="{69C4FDBD-F3E4-5166-2E3F-FC812996457B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4572000" y="1736725"/>
            <a:ext cx="250825" cy="187325"/>
          </a:xfrm>
          <a:prstGeom prst="rect">
            <a:avLst/>
          </a:prstGeom>
          <a:solidFill>
            <a:srgbClr val="A3C7A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7" name="Retângulo 156">
            <a:extLst>
              <a:ext uri="{FF2B5EF4-FFF2-40B4-BE49-F238E27FC236}">
                <a16:creationId xmlns:a16="http://schemas.microsoft.com/office/drawing/2014/main" id="{EAC53020-5513-0422-7B2E-F5687F09EADC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6092825" y="1736725"/>
            <a:ext cx="250825" cy="187325"/>
          </a:xfrm>
          <a:prstGeom prst="rect">
            <a:avLst/>
          </a:prstGeom>
          <a:solidFill>
            <a:srgbClr val="EA4E58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7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4873625" y="1747838"/>
            <a:ext cx="1117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A4AC096-790D-4DEF-88FB-4F27CA9663E0}" type="datetime'B''ai''''rr''o''''''s ''''''''A''b''erto''s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airros Abertos</a:t>
            </a:fld>
            <a:endParaRPr lang="pt-BR" sz="1400" dirty="0"/>
          </a:p>
        </p:txBody>
      </p:sp>
      <p:sp>
        <p:nvSpPr>
          <p:cNvPr id="128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6394450" y="1747838"/>
            <a:ext cx="15954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785ED8E-E137-433F-A81F-07E10C70469D}" type="datetime'Ba''irros'''''''''' S''''em'' ''''''''O''''per''''aç''ã''o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airros Sem Operação</a:t>
            </a:fld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26025531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9478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5" imgW="421" imgH="420" progId="TCLayout.ActiveDocument.1">
                  <p:embed/>
                </p:oleObj>
              </mc:Choice>
              <mc:Fallback>
                <p:oleObj name="Slide do think-cell" r:id="rId35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CaixaDeTexto 83">
            <a:extLst>
              <a:ext uri="{FF2B5EF4-FFF2-40B4-BE49-F238E27FC236}">
                <a16:creationId xmlns:a16="http://schemas.microsoft.com/office/drawing/2014/main" id="{3CE662F3-51A4-F9DB-D7CA-B4298C71DBCB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957BD"/>
                </a:solidFill>
              </a:rPr>
              <a:t>Em média, perdemos 18% dos leads que capturamos por estarem fora da nossa área de operação.</a:t>
            </a:r>
            <a:endParaRPr lang="pt-BR" sz="2800" baseline="30000" dirty="0">
              <a:solidFill>
                <a:srgbClr val="3957BD"/>
              </a:solidFill>
            </a:endParaRPr>
          </a:p>
        </p:txBody>
      </p:sp>
      <p:sp>
        <p:nvSpPr>
          <p:cNvPr id="87" name="CaixaDeTexto 86">
            <a:extLst>
              <a:ext uri="{FF2B5EF4-FFF2-40B4-BE49-F238E27FC236}">
                <a16:creationId xmlns:a16="http://schemas.microsoft.com/office/drawing/2014/main" id="{95983569-DF73-54A2-81A0-412FBA3C2314}"/>
              </a:ext>
            </a:extLst>
          </p:cNvPr>
          <p:cNvSpPr txBox="1"/>
          <p:nvPr/>
        </p:nvSpPr>
        <p:spPr>
          <a:xfrm>
            <a:off x="368921" y="1642031"/>
            <a:ext cx="2758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i="1" dirty="0"/>
              <a:t>Leads Total (em k):</a:t>
            </a:r>
          </a:p>
        </p:txBody>
      </p:sp>
      <p:cxnSp>
        <p:nvCxnSpPr>
          <p:cNvPr id="88" name="Conector reto 87">
            <a:extLst>
              <a:ext uri="{FF2B5EF4-FFF2-40B4-BE49-F238E27FC236}">
                <a16:creationId xmlns:a16="http://schemas.microsoft.com/office/drawing/2014/main" id="{4FFA6C9F-921E-94C8-37CE-DE19BCD45787}"/>
              </a:ext>
            </a:extLst>
          </p:cNvPr>
          <p:cNvCxnSpPr>
            <a:cxnSpLocks/>
          </p:cNvCxnSpPr>
          <p:nvPr/>
        </p:nvCxnSpPr>
        <p:spPr>
          <a:xfrm>
            <a:off x="426720" y="2011363"/>
            <a:ext cx="1789430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2" name="Chart 3">
            <a:extLst>
              <a:ext uri="{FF2B5EF4-FFF2-40B4-BE49-F238E27FC236}">
                <a16:creationId xmlns:a16="http://schemas.microsoft.com/office/drawing/2014/main" id="{AA1CF000-2382-B3AF-1B2C-ED8A3D2B686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0768867"/>
              </p:ext>
            </p:extLst>
          </p:nvPr>
        </p:nvGraphicFramePr>
        <p:xfrm>
          <a:off x="344488" y="2133600"/>
          <a:ext cx="10880725" cy="2771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19" name="Espaço Reservado para Texto 2">
            <a:extLst>
              <a:ext uri="{FF2B5EF4-FFF2-40B4-BE49-F238E27FC236}">
                <a16:creationId xmlns:a16="http://schemas.microsoft.com/office/drawing/2014/main" id="{848D202F-CC77-1705-DDC2-9B50C978202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9063038" y="4881563"/>
            <a:ext cx="585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B7A5F1-FB0C-466B-B6BB-E0582D56D85A}" type="datetime'''C''''''''''''''''ur''i''''''''''''''''''t''''i''ba'''''''">
              <a:rPr lang="pt-BR" altLang="en-US" sz="1400" smtClean="0"/>
              <a:pPr/>
              <a:t>Curitiba</a:t>
            </a:fld>
            <a:endParaRPr lang="pt-BR" sz="1400" dirty="0"/>
          </a:p>
        </p:txBody>
      </p:sp>
      <p:sp>
        <p:nvSpPr>
          <p:cNvPr id="2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54063" y="4881563"/>
            <a:ext cx="533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C25730-BC9F-4E89-8300-CCAEFD31E68F}" type="datetime'''''B''r''''''''''a''s''''i''''''''''li''''''''''''''''a'">
              <a:rPr lang="pt-BR" altLang="en-US" sz="1400" smtClean="0"/>
              <a:pPr/>
              <a:t>Brasilia</a:t>
            </a:fld>
            <a:endParaRPr lang="pt-BR" sz="1400" dirty="0"/>
          </a:p>
        </p:txBody>
      </p:sp>
      <p:sp>
        <p:nvSpPr>
          <p:cNvPr id="109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222625" y="4592638"/>
            <a:ext cx="358775" cy="192088"/>
          </a:xfrm>
          <a:prstGeom prst="rect">
            <a:avLst/>
          </a:prstGeom>
          <a:solidFill>
            <a:srgbClr val="E1A7AF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95FB15-E81D-4300-B361-FA3B71FF07A9}" type="datetime'''''''''''2''''''2''''''''%'''''''''''''''''''''''''''''''''">
              <a:rPr lang="pt-BR" altLang="en-US" sz="1400" smtClean="0">
                <a:effectLst/>
              </a:rPr>
              <a:pPr/>
              <a:t>22%</a:t>
            </a:fld>
            <a:endParaRPr lang="pt-BR" sz="1400" dirty="0"/>
          </a:p>
        </p:txBody>
      </p:sp>
      <p:sp>
        <p:nvSpPr>
          <p:cNvPr id="12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219450" y="4373563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745AF0-2A26-4E4E-A80E-A31B609C7A97}" type="datetime'''''''''1''''''''''''''''0''2'''">
              <a:rPr lang="pt-BR" altLang="en-US" sz="1600" b="1" smtClean="0"/>
              <a:pPr/>
              <a:t>102</a:t>
            </a:fld>
            <a:endParaRPr lang="pt-BR" sz="1600" b="1" dirty="0"/>
          </a:p>
        </p:txBody>
      </p:sp>
      <p:sp>
        <p:nvSpPr>
          <p:cNvPr id="108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032000" y="4576763"/>
            <a:ext cx="358775" cy="192088"/>
          </a:xfrm>
          <a:prstGeom prst="rect">
            <a:avLst/>
          </a:prstGeom>
          <a:solidFill>
            <a:srgbClr val="E1A7AF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1ED923-5726-4983-A03F-0CA7D0F0B79B}" type="datetime'''''''''''''''''''''2''''''''''''''''''3''''''%'''''''''''">
              <a:rPr lang="pt-BR" altLang="en-US" sz="1400" smtClean="0">
                <a:effectLst/>
              </a:rPr>
              <a:pPr/>
              <a:t>23%</a:t>
            </a:fld>
            <a:endParaRPr lang="pt-BR" sz="1400" dirty="0"/>
          </a:p>
        </p:txBody>
      </p:sp>
      <p:sp>
        <p:nvSpPr>
          <p:cNvPr id="25" name="Espaço Reservado para Texto 2">
            <a:extLst>
              <a:ext uri="{FF2B5EF4-FFF2-40B4-BE49-F238E27FC236}">
                <a16:creationId xmlns:a16="http://schemas.microsoft.com/office/drawing/2014/main" id="{8382D6EA-2E58-D482-7524-91A2AA25CB7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791325" y="4287838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9A89D1-0449-4614-BB17-9D4FF18A57B9}" type="datetime'''''''''''''1''''''''''''''''''6''''3'''">
              <a:rPr lang="pt-BR" altLang="en-US" sz="1600" b="1" smtClean="0"/>
              <a:pPr/>
              <a:t>163</a:t>
            </a:fld>
            <a:endParaRPr lang="pt-BR" sz="1600" b="1" dirty="0"/>
          </a:p>
        </p:txBody>
      </p:sp>
      <p:sp>
        <p:nvSpPr>
          <p:cNvPr id="106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41375" y="4543425"/>
            <a:ext cx="358775" cy="192088"/>
          </a:xfrm>
          <a:prstGeom prst="rect">
            <a:avLst/>
          </a:prstGeom>
          <a:solidFill>
            <a:srgbClr val="E1A7AF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361C8C-CCEC-46A4-8BF8-6B655EAB12BB}" type="datetime'''''''2''4''''%'''''''''''''''''''''''''''''">
              <a:rPr lang="pt-BR" altLang="en-US" sz="1400" smtClean="0">
                <a:effectLst/>
              </a:rPr>
              <a:pPr/>
              <a:t>24%</a:t>
            </a:fld>
            <a:endParaRPr lang="pt-BR" sz="1400" dirty="0"/>
          </a:p>
        </p:txBody>
      </p:sp>
      <p:sp>
        <p:nvSpPr>
          <p:cNvPr id="77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413250" y="3638550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6E3923-36F6-46D9-AAD4-26C300C550DA}" type="datetime'''''''''''''2''''1''''''''''''''''''''''''''%'''''''''">
              <a:rPr lang="pt-BR" altLang="en-US" sz="1400" smtClean="0"/>
              <a:pPr/>
              <a:t>21%</a:t>
            </a:fld>
            <a:endParaRPr lang="pt-BR" sz="1400" dirty="0"/>
          </a:p>
        </p:txBody>
      </p:sp>
      <p:sp>
        <p:nvSpPr>
          <p:cNvPr id="28" name="Espaço Reservado para Texto 2">
            <a:extLst>
              <a:ext uri="{FF2B5EF4-FFF2-40B4-BE49-F238E27FC236}">
                <a16:creationId xmlns:a16="http://schemas.microsoft.com/office/drawing/2014/main" id="{6CC08A85-C50D-6C1C-53F2-68D98A54867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0363200" y="4271963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24A66D-0879-406D-8BAD-BF83FC8894CB}" type="datetime'''''''''1''''''6''''''''''''''''''''''''''''6'''''''''''''''''">
              <a:rPr lang="pt-BR" altLang="en-US" sz="1600" b="1" smtClean="0"/>
              <a:pPr/>
              <a:t>166</a:t>
            </a:fld>
            <a:endParaRPr lang="pt-BR" sz="1600" b="1" dirty="0"/>
          </a:p>
        </p:txBody>
      </p:sp>
      <p:sp>
        <p:nvSpPr>
          <p:cNvPr id="5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928813" y="4881563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9DD938-AB00-437B-8253-C301C562C924}" type="datetime'''Go''''''''i''''''''''''''''''''â''ni''''''''''''a'''">
              <a:rPr lang="pt-BR" altLang="en-US" sz="1400" smtClean="0"/>
              <a:pPr/>
              <a:t>Goiânia</a:t>
            </a:fld>
            <a:endParaRPr lang="pt-BR" sz="1400" dirty="0"/>
          </a:p>
        </p:txBody>
      </p:sp>
      <p:sp>
        <p:nvSpPr>
          <p:cNvPr id="6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043238" y="4881563"/>
            <a:ext cx="7191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E095DB-E85A-456C-9B05-01BCA036C6AC}" type="datetime'''''''''''''''C''a''''m''''''''p''''''''''inas'''''''''">
              <a:rPr lang="pt-BR" altLang="en-US" sz="1400" smtClean="0"/>
              <a:pPr/>
              <a:t>Campinas</a:t>
            </a:fld>
            <a:endParaRPr lang="pt-BR" sz="1400" dirty="0"/>
          </a:p>
        </p:txBody>
      </p:sp>
      <p:sp>
        <p:nvSpPr>
          <p:cNvPr id="15" name="Espaço Reservado para Texto 2">
            <a:extLst>
              <a:ext uri="{FF2B5EF4-FFF2-40B4-BE49-F238E27FC236}">
                <a16:creationId xmlns:a16="http://schemas.microsoft.com/office/drawing/2014/main" id="{69858494-0551-4515-A9E5-331F5022F9B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079875" y="4881563"/>
            <a:ext cx="10255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F83EB7-7805-41EE-BAD0-B8E1016A45F3}" type="datetime'''''''''R''i''''''''''o ''''de ''J''a''''''n''eir''''''o'''">
              <a:rPr lang="pt-BR" altLang="en-US" sz="1400" smtClean="0"/>
              <a:pPr/>
              <a:t>Rio de Janeiro</a:t>
            </a:fld>
            <a:endParaRPr lang="pt-BR" sz="1400" dirty="0"/>
          </a:p>
        </p:txBody>
      </p:sp>
      <p:sp>
        <p:nvSpPr>
          <p:cNvPr id="30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603875" y="4414838"/>
            <a:ext cx="358775" cy="192088"/>
          </a:xfrm>
          <a:prstGeom prst="rect">
            <a:avLst/>
          </a:prstGeom>
          <a:solidFill>
            <a:srgbClr val="E1A7AF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5BA34E-7842-4176-94C0-35F29C7E4959}" type="datetime'''''''2''''''''''''''''''1''%'''''''">
              <a:rPr lang="pt-BR" altLang="en-US" sz="1400" smtClean="0">
                <a:effectLst/>
              </a:rPr>
              <a:pPr/>
              <a:t>21%</a:t>
            </a:fld>
            <a:endParaRPr lang="pt-BR" sz="1400" dirty="0"/>
          </a:p>
        </p:txBody>
      </p:sp>
      <p:sp>
        <p:nvSpPr>
          <p:cNvPr id="16" name="Espaço Reservado para Texto 2">
            <a:extLst>
              <a:ext uri="{FF2B5EF4-FFF2-40B4-BE49-F238E27FC236}">
                <a16:creationId xmlns:a16="http://schemas.microsoft.com/office/drawing/2014/main" id="{B7527674-B94F-D083-A337-91FCCA4A2F13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243513" y="4881563"/>
            <a:ext cx="1079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A6E05C-AB9D-448D-8643-B51AF5F24B0D}" type="datetime'''Be''''''''l''o'' H''o''r''''''''iz''''''''on''''te'''''''">
              <a:rPr lang="pt-BR" altLang="en-US" sz="1400" smtClean="0"/>
              <a:pPr/>
              <a:t>Belo Horizonte</a:t>
            </a:fld>
            <a:endParaRPr lang="pt-BR" sz="1400" dirty="0"/>
          </a:p>
        </p:txBody>
      </p:sp>
      <p:sp>
        <p:nvSpPr>
          <p:cNvPr id="33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985125" y="2316163"/>
            <a:ext cx="358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2230F8-15ED-49AA-8409-62D28A14EF71}" type="datetime'''''''''''''''''''''''''''''''''''''''''''''''1''5%'''''''''">
              <a:rPr lang="pt-BR" altLang="en-US" sz="1400" smtClean="0"/>
              <a:pPr/>
              <a:t>15%</a:t>
            </a:fld>
            <a:endParaRPr lang="pt-BR" sz="1400" dirty="0"/>
          </a:p>
        </p:txBody>
      </p:sp>
      <p:sp>
        <p:nvSpPr>
          <p:cNvPr id="110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794500" y="4506913"/>
            <a:ext cx="358775" cy="192088"/>
          </a:xfrm>
          <a:prstGeom prst="rect">
            <a:avLst/>
          </a:prstGeom>
          <a:solidFill>
            <a:srgbClr val="E1A7AF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4E9DBB-144E-4B4D-A0AA-428896A7FD86}" type="datetime'''''''''''''''''''''1''''''''''''''6''''%'''''''">
              <a:rPr lang="pt-BR" altLang="en-US" sz="1400" smtClean="0">
                <a:effectLst/>
              </a:rPr>
              <a:pPr/>
              <a:t>16%</a:t>
            </a:fld>
            <a:endParaRPr lang="pt-BR" sz="1400" dirty="0"/>
          </a:p>
        </p:txBody>
      </p:sp>
      <p:sp>
        <p:nvSpPr>
          <p:cNvPr id="17" name="Espaço Reservado para Texto 2">
            <a:extLst>
              <a:ext uri="{FF2B5EF4-FFF2-40B4-BE49-F238E27FC236}">
                <a16:creationId xmlns:a16="http://schemas.microsoft.com/office/drawing/2014/main" id="{A9C94DD8-F5B8-A781-1D6E-2CD3C88D9C5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516688" y="4881563"/>
            <a:ext cx="915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29DE12-8DE4-4849-9616-9A3AE883646B}" type="datetime'P''''''''o''''''''''rto'''' ''Al''eg''''''''''''r''''e'''''">
              <a:rPr lang="pt-BR" altLang="en-US" sz="1400" smtClean="0"/>
              <a:pPr/>
              <a:t>Porto Alegre</a:t>
            </a:fld>
            <a:endParaRPr lang="pt-BR" sz="1400" dirty="0"/>
          </a:p>
        </p:txBody>
      </p:sp>
      <p:sp>
        <p:nvSpPr>
          <p:cNvPr id="18" name="Espaço Reservado para Texto 2">
            <a:extLst>
              <a:ext uri="{FF2B5EF4-FFF2-40B4-BE49-F238E27FC236}">
                <a16:creationId xmlns:a16="http://schemas.microsoft.com/office/drawing/2014/main" id="{2C926153-4FD0-9CF2-FFA7-F9C8B347F4F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807325" y="4881563"/>
            <a:ext cx="7159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BCFEEB-CCD5-495F-90CA-867664019547}" type="datetime'''''''''Sã''''''''''o P''''''''''''a''''''''ul''''''o'''">
              <a:rPr lang="pt-BR" altLang="en-US" sz="1400" smtClean="0"/>
              <a:pPr/>
              <a:t>São Paulo</a:t>
            </a:fld>
            <a:endParaRPr lang="pt-BR" sz="1400" dirty="0"/>
          </a:p>
        </p:txBody>
      </p:sp>
      <p:sp>
        <p:nvSpPr>
          <p:cNvPr id="111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9175750" y="4418013"/>
            <a:ext cx="358775" cy="192088"/>
          </a:xfrm>
          <a:prstGeom prst="rect">
            <a:avLst/>
          </a:prstGeom>
          <a:solidFill>
            <a:srgbClr val="E1A7AF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3B0891-D7C9-4232-BEDB-A56DAB88C8EB}" type="datetime'''''''''''''1''''''''''''''''''''''''''''''''''0%'">
              <a:rPr lang="pt-BR" altLang="en-US" sz="1400" smtClean="0">
                <a:effectLst/>
              </a:rPr>
              <a:pPr/>
              <a:t>10%</a:t>
            </a:fld>
            <a:endParaRPr lang="pt-BR" sz="1400" dirty="0"/>
          </a:p>
        </p:txBody>
      </p:sp>
      <p:sp>
        <p:nvSpPr>
          <p:cNvPr id="112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412413" y="4491038"/>
            <a:ext cx="268288" cy="192088"/>
          </a:xfrm>
          <a:prstGeom prst="rect">
            <a:avLst/>
          </a:prstGeom>
          <a:solidFill>
            <a:srgbClr val="E1A7AF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8F7322-2612-4BA9-A819-1B0316B0D882}" type="datetime'''''''''''''''''''''6''''''%'''''''''''''''''''''''''">
              <a:rPr lang="pt-BR" altLang="en-US" sz="1400" smtClean="0">
                <a:effectLst/>
              </a:rPr>
              <a:pPr/>
              <a:t>6%</a:t>
            </a:fld>
            <a:endParaRPr lang="pt-BR" sz="1400" dirty="0"/>
          </a:p>
        </p:txBody>
      </p:sp>
      <p:sp>
        <p:nvSpPr>
          <p:cNvPr id="20" name="Espaço Reservado para Texto 2">
            <a:extLst>
              <a:ext uri="{FF2B5EF4-FFF2-40B4-BE49-F238E27FC236}">
                <a16:creationId xmlns:a16="http://schemas.microsoft.com/office/drawing/2014/main" id="{B394821F-2C83-4227-C561-1A4160F85E7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074275" y="4881563"/>
            <a:ext cx="9445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6B10EAC-7ED5-49B1-8CEC-37F1E7013E33}" type="datetime'F''''''''l''''''''''''''o''ri''''an''''ópo''''''''''l''''i''s'">
              <a:rPr lang="pt-BR" altLang="en-US" sz="1400" smtClean="0"/>
              <a:pPr/>
              <a:t>Florianópolis</a:t>
            </a:fld>
            <a:endParaRPr lang="pt-BR" sz="1400" dirty="0"/>
          </a:p>
        </p:txBody>
      </p:sp>
      <p:sp>
        <p:nvSpPr>
          <p:cNvPr id="23" name="Espaço Reservado para Texto 2">
            <a:extLst>
              <a:ext uri="{FF2B5EF4-FFF2-40B4-BE49-F238E27FC236}">
                <a16:creationId xmlns:a16="http://schemas.microsoft.com/office/drawing/2014/main" id="{C2489363-7110-7294-E595-DDF007F0BF9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410075" y="3359150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8F98C7-CFD6-4269-B6E4-773AF7F9806E}" type="datetime'''''''''''''''''''''8''''''''29'''''''''''''''''''''''''''''''">
              <a:rPr lang="pt-BR" altLang="en-US" sz="1600" b="1" smtClean="0"/>
              <a:pPr/>
              <a:t>829</a:t>
            </a:fld>
            <a:endParaRPr lang="pt-BR" sz="1600" b="1" dirty="0"/>
          </a:p>
        </p:txBody>
      </p:sp>
      <p:sp>
        <p:nvSpPr>
          <p:cNvPr id="10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38200" y="4324350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76DF9A-0935-497B-9B55-95E390452688}" type="datetime'''''''''''''''''''''''''''''''1''''41'''''''''''''''''''''''''">
              <a:rPr lang="pt-BR" altLang="en-US" sz="1600" b="1" smtClean="0"/>
              <a:pPr/>
              <a:t>141</a:t>
            </a:fld>
            <a:endParaRPr lang="pt-BR" sz="1600" b="1" dirty="0"/>
          </a:p>
        </p:txBody>
      </p:sp>
      <p:sp>
        <p:nvSpPr>
          <p:cNvPr id="11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028825" y="4357688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37DBF1-5354-4F0B-BFB2-6884E52D79D1}" type="datetime'''''''''''''''''''''''''''''''1''''''''16'''''''''''''''">
              <a:rPr lang="pt-BR" altLang="en-US" sz="1600" b="1" smtClean="0"/>
              <a:pPr/>
              <a:t>116</a:t>
            </a:fld>
            <a:endParaRPr lang="pt-BR" sz="1600" b="1" dirty="0"/>
          </a:p>
        </p:txBody>
      </p:sp>
      <p:sp>
        <p:nvSpPr>
          <p:cNvPr id="24" name="Espaço Reservado para Texto 2">
            <a:extLst>
              <a:ext uri="{FF2B5EF4-FFF2-40B4-BE49-F238E27FC236}">
                <a16:creationId xmlns:a16="http://schemas.microsoft.com/office/drawing/2014/main" id="{89B13657-6C09-906B-DB99-9669CAB5FA6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600700" y="4195763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25D243-D4B7-4594-9D00-B16BC230A7A1}" type="datetime'''''''23''''''''''''''''''''''''''''''''''''8'''''''''">
              <a:rPr lang="pt-BR" altLang="en-US" sz="1600" b="1" smtClean="0"/>
              <a:pPr/>
              <a:t>238</a:t>
            </a:fld>
            <a:endParaRPr lang="pt-BR" sz="1600" b="1" dirty="0"/>
          </a:p>
        </p:txBody>
      </p:sp>
      <p:sp>
        <p:nvSpPr>
          <p:cNvPr id="26" name="Espaço Reservado para Texto 2">
            <a:extLst>
              <a:ext uri="{FF2B5EF4-FFF2-40B4-BE49-F238E27FC236}">
                <a16:creationId xmlns:a16="http://schemas.microsoft.com/office/drawing/2014/main" id="{3EC54D36-4C3A-774F-1121-F808A405DE9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902575" y="1971675"/>
            <a:ext cx="5238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95E8D7-9C05-485B-816B-80917A73BAF4}" type="datetime'''''''1''''''''''.''''''''''''7''''''''''''72'''">
              <a:rPr lang="pt-BR" altLang="en-US" sz="1600" b="1" smtClean="0"/>
              <a:pPr/>
              <a:t>1.772</a:t>
            </a:fld>
            <a:endParaRPr lang="pt-BR" sz="1600" b="1" dirty="0"/>
          </a:p>
        </p:txBody>
      </p:sp>
      <p:sp>
        <p:nvSpPr>
          <p:cNvPr id="27" name="Espaço Reservado para Texto 2">
            <a:extLst>
              <a:ext uri="{FF2B5EF4-FFF2-40B4-BE49-F238E27FC236}">
                <a16:creationId xmlns:a16="http://schemas.microsoft.com/office/drawing/2014/main" id="{C1534869-5410-E135-48D0-CE384560047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9172575" y="4198938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1224C5-0388-44C0-B4D9-BE5DD933AAFC}" type="datetime'''''''''''''''''''''''''''''''''''2''2''''2'''''''''''''''">
              <a:rPr lang="pt-BR" altLang="en-US" sz="1600" b="1" smtClean="0"/>
              <a:pPr/>
              <a:t>222</a:t>
            </a:fld>
            <a:endParaRPr lang="pt-BR" sz="1600" b="1" dirty="0"/>
          </a:p>
        </p:txBody>
      </p:sp>
      <p:sp>
        <p:nvSpPr>
          <p:cNvPr id="93" name="Retângulo 92">
            <a:extLst>
              <a:ext uri="{FF2B5EF4-FFF2-40B4-BE49-F238E27FC236}">
                <a16:creationId xmlns:a16="http://schemas.microsoft.com/office/drawing/2014/main" id="{3F8D1025-8F4D-23AD-A276-EC8DCDFB8005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3687763" y="1728788"/>
            <a:ext cx="250825" cy="187325"/>
          </a:xfrm>
          <a:prstGeom prst="rect">
            <a:avLst/>
          </a:prstGeom>
          <a:solidFill>
            <a:srgbClr val="7CBBC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4" name="Retângulo 93">
            <a:extLst>
              <a:ext uri="{FF2B5EF4-FFF2-40B4-BE49-F238E27FC236}">
                <a16:creationId xmlns:a16="http://schemas.microsoft.com/office/drawing/2014/main" id="{4CB8B1E7-7DBF-B357-0435-F81B95A410E3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5584825" y="1728788"/>
            <a:ext cx="250825" cy="187325"/>
          </a:xfrm>
          <a:prstGeom prst="rect">
            <a:avLst/>
          </a:prstGeom>
          <a:solidFill>
            <a:srgbClr val="E1A7A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989388" y="1739900"/>
            <a:ext cx="14938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49B8AAE-765B-4125-B0A4-29E16202CA5A}" type="datetime'''Na'' ár''''''''ea ''''de'''' ''''ope''''ra''ç''''''ã''o'''''">
              <a:rPr lang="pt-BR" altLang="en-US" sz="1400" smtClean="0"/>
              <a:pPr/>
              <a:t>Na área de operação</a:t>
            </a:fld>
            <a:endParaRPr lang="pt-BR" sz="1400" dirty="0"/>
          </a:p>
        </p:txBody>
      </p:sp>
      <p:sp>
        <p:nvSpPr>
          <p:cNvPr id="9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886450" y="1739900"/>
            <a:ext cx="18303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AC1078-C117-4DA1-9E8A-EC484E51892B}" type="datetime'For''a'''''' da área ''''''''''''de'''' ope''r''''a''çã''''o'">
              <a:rPr lang="pt-BR" altLang="en-US" sz="1400" smtClean="0"/>
              <a:pPr/>
              <a:t>Fora da área de operação</a:t>
            </a:fld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20408200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153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6" imgW="421" imgH="420" progId="TCLayout.ActiveDocument.1">
                  <p:embed/>
                </p:oleObj>
              </mc:Choice>
              <mc:Fallback>
                <p:oleObj name="Slide do think-cell" r:id="rId36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CaixaDeTexto 83">
            <a:extLst>
              <a:ext uri="{FF2B5EF4-FFF2-40B4-BE49-F238E27FC236}">
                <a16:creationId xmlns:a16="http://schemas.microsoft.com/office/drawing/2014/main" id="{3CE662F3-51A4-F9DB-D7CA-B4298C71DBCB}"/>
              </a:ext>
            </a:extLst>
          </p:cNvPr>
          <p:cNvSpPr txBox="1"/>
          <p:nvPr/>
        </p:nvSpPr>
        <p:spPr>
          <a:xfrm>
            <a:off x="334963" y="296863"/>
            <a:ext cx="1152207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957BD"/>
                </a:solidFill>
              </a:rPr>
              <a:t>As cidades de São Paulo, Campinas e Porto Alegre apresentam uma taxa média de 12,6% de conversão de inquilino demandante em efetivação de contrato.</a:t>
            </a:r>
            <a:endParaRPr lang="pt-BR" sz="2800" baseline="30000" dirty="0">
              <a:solidFill>
                <a:srgbClr val="3957BD"/>
              </a:solidFill>
            </a:endParaRPr>
          </a:p>
        </p:txBody>
      </p:sp>
      <p:sp>
        <p:nvSpPr>
          <p:cNvPr id="87" name="CaixaDeTexto 86">
            <a:extLst>
              <a:ext uri="{FF2B5EF4-FFF2-40B4-BE49-F238E27FC236}">
                <a16:creationId xmlns:a16="http://schemas.microsoft.com/office/drawing/2014/main" id="{95983569-DF73-54A2-81A0-412FBA3C2314}"/>
              </a:ext>
            </a:extLst>
          </p:cNvPr>
          <p:cNvSpPr txBox="1"/>
          <p:nvPr/>
        </p:nvSpPr>
        <p:spPr>
          <a:xfrm>
            <a:off x="368921" y="1642031"/>
            <a:ext cx="2758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i="1" dirty="0"/>
              <a:t>Funil de Inquilinos (em k):</a:t>
            </a:r>
          </a:p>
        </p:txBody>
      </p:sp>
      <p:cxnSp>
        <p:nvCxnSpPr>
          <p:cNvPr id="88" name="Conector reto 87">
            <a:extLst>
              <a:ext uri="{FF2B5EF4-FFF2-40B4-BE49-F238E27FC236}">
                <a16:creationId xmlns:a16="http://schemas.microsoft.com/office/drawing/2014/main" id="{4FFA6C9F-921E-94C8-37CE-DE19BCD45787}"/>
              </a:ext>
            </a:extLst>
          </p:cNvPr>
          <p:cNvCxnSpPr>
            <a:cxnSpLocks/>
          </p:cNvCxnSpPr>
          <p:nvPr/>
        </p:nvCxnSpPr>
        <p:spPr>
          <a:xfrm>
            <a:off x="426720" y="2011363"/>
            <a:ext cx="2345509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333A956B-1E48-1EF2-ADC5-D469DF30B16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724020"/>
              </p:ext>
            </p:extLst>
          </p:nvPr>
        </p:nvGraphicFramePr>
        <p:xfrm>
          <a:off x="285750" y="2152650"/>
          <a:ext cx="11653838" cy="3230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139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844551" y="3344863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D2747B-E1C0-45FA-9B30-FEFDD2752A05}" type="datetime'''''''4''''''''''''''''''''''''8''2'''''''''''''''''''''''''''">
              <a:rPr lang="pt-BR" altLang="en-US" sz="1400" smtClean="0"/>
              <a:pPr/>
              <a:t>482</a:t>
            </a:fld>
            <a:endParaRPr lang="pt-BR" sz="1400" dirty="0"/>
          </a:p>
        </p:txBody>
      </p:sp>
      <p:sp>
        <p:nvSpPr>
          <p:cNvPr id="252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9740900" y="3830638"/>
            <a:ext cx="4032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F8B87E-E1A0-49BD-9A06-A87C563D89FB}" type="datetime'6,''1''''''''''''''''''''''''''''''''''''''''''%'''''''">
              <a:rPr lang="pt-BR" altLang="en-US" sz="1400" smtClean="0"/>
              <a:pPr/>
              <a:t>6,1%</a:t>
            </a:fld>
            <a:endParaRPr lang="pt-BR" sz="1400" dirty="0"/>
          </a:p>
        </p:txBody>
      </p:sp>
      <p:sp>
        <p:nvSpPr>
          <p:cNvPr id="246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036763" y="2700338"/>
            <a:ext cx="493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4C96C6-00E7-4153-AEF2-FCAAABCF1FBE}" type="datetime'''1''2'''''''''',''''''0''''''%'''''">
              <a:rPr lang="pt-BR" altLang="en-US" sz="1400" smtClean="0"/>
              <a:pPr/>
              <a:t>12,0%</a:t>
            </a:fld>
            <a:endParaRPr lang="pt-BR" sz="1400" dirty="0"/>
          </a:p>
        </p:txBody>
      </p:sp>
      <p:sp>
        <p:nvSpPr>
          <p:cNvPr id="145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548688" y="4945063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D4E3AC-C599-4CB4-93DD-BABB82C32B33}" type="datetime'''''''''''''''''''''38'">
              <a:rPr lang="pt-BR" altLang="en-US" sz="1400" smtClean="0"/>
              <a:pPr/>
              <a:t>38</a:t>
            </a:fld>
            <a:endParaRPr lang="pt-BR" sz="1400" dirty="0"/>
          </a:p>
        </p:txBody>
      </p:sp>
      <p:sp>
        <p:nvSpPr>
          <p:cNvPr id="245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60413" y="2354263"/>
            <a:ext cx="493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7287F5-C242-40CA-96F6-01B259E54870}" type="datetime'''''''''''''''''1''''''3'''''''''''',''''''''8''''''''''''''%'">
              <a:rPr lang="pt-BR" altLang="en-US" sz="1400" smtClean="0"/>
              <a:pPr/>
              <a:t>13,8%</a:t>
            </a:fld>
            <a:endParaRPr lang="pt-BR" sz="1400" dirty="0"/>
          </a:p>
        </p:txBody>
      </p:sp>
      <p:sp>
        <p:nvSpPr>
          <p:cNvPr id="247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313113" y="2725738"/>
            <a:ext cx="493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CC1732-D95D-4B47-AE1D-5BE0040A1457}" type="datetime'''''''1''''''''''''''''''''''''''''''1'',''''''''''''9%'''">
              <a:rPr lang="pt-BR" altLang="en-US" sz="1400" smtClean="0"/>
              <a:pPr/>
              <a:t>11,9%</a:t>
            </a:fld>
            <a:endParaRPr lang="pt-BR" sz="1400" dirty="0"/>
          </a:p>
        </p:txBody>
      </p:sp>
      <p:sp>
        <p:nvSpPr>
          <p:cNvPr id="22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922463" y="5359400"/>
            <a:ext cx="7191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BB7715-D2DF-40C8-8ED9-B7B94C092603}" type="datetime'''Ca''m''''''''p''''i''n''''''a''''''''''s'''">
              <a:rPr lang="pt-BR" altLang="en-US" sz="1400" smtClean="0"/>
              <a:pPr/>
              <a:t>Campinas</a:t>
            </a:fld>
            <a:endParaRPr lang="pt-BR" sz="1400" dirty="0"/>
          </a:p>
        </p:txBody>
      </p:sp>
      <p:sp>
        <p:nvSpPr>
          <p:cNvPr id="21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47700" y="5359400"/>
            <a:ext cx="7159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BBA1D5-CAF6-4EFD-B46B-F1792A52DC04}" type="datetime'S''''ão'' ''Pa''''''''''ul''''''o'''">
              <a:rPr lang="pt-BR" altLang="en-US" sz="1400" smtClean="0"/>
              <a:pPr/>
              <a:t>São Paulo</a:t>
            </a:fld>
            <a:endParaRPr lang="pt-BR" sz="1400" dirty="0"/>
          </a:p>
        </p:txBody>
      </p:sp>
      <p:sp>
        <p:nvSpPr>
          <p:cNvPr id="71" name="Espaço Reservado para Texto 2">
            <a:extLst>
              <a:ext uri="{FF2B5EF4-FFF2-40B4-BE49-F238E27FC236}">
                <a16:creationId xmlns:a16="http://schemas.microsoft.com/office/drawing/2014/main" id="{4A987DDE-434B-034A-6CD2-73FAF43126F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321175" y="5359400"/>
            <a:ext cx="10255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C525B9-4790-4978-9B25-EA8059969C9F}" type="datetime'''Ri''''''''o'''' de'''''' ''''''Jan''''''''''e''''''''iro'">
              <a:rPr lang="pt-BR" altLang="en-US" sz="1400" smtClean="0"/>
              <a:pPr/>
              <a:t>Rio de Janeiro</a:t>
            </a:fld>
            <a:endParaRPr lang="pt-BR" sz="1400" dirty="0"/>
          </a:p>
        </p:txBody>
      </p:sp>
      <p:sp>
        <p:nvSpPr>
          <p:cNvPr id="29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100387" y="5359400"/>
            <a:ext cx="915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402D6B-0474-4262-8242-A5934986016C}" type="datetime'''''''P''o''''''''rto'' ''''A''''''''leg''''r''''''''''''e'''">
              <a:rPr lang="pt-BR" altLang="en-US" sz="1400" smtClean="0"/>
              <a:pPr/>
              <a:t>Porto Alegre</a:t>
            </a:fld>
            <a:endParaRPr lang="pt-BR" sz="1400" dirty="0"/>
          </a:p>
        </p:txBody>
      </p:sp>
      <p:sp>
        <p:nvSpPr>
          <p:cNvPr id="248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589463" y="2960688"/>
            <a:ext cx="4937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E85C00-BE00-474E-9C80-73C3D4A16C45}" type="datetime'''''''''''''''''''''''''''''10'''''',''''7''''''%'''">
              <a:rPr lang="pt-BR" altLang="en-US" sz="1400" smtClean="0"/>
              <a:pPr/>
              <a:t>10,7%</a:t>
            </a:fld>
            <a:endParaRPr lang="pt-BR" sz="1400" dirty="0"/>
          </a:p>
        </p:txBody>
      </p:sp>
      <p:sp>
        <p:nvSpPr>
          <p:cNvPr id="249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910263" y="3395663"/>
            <a:ext cx="4032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87B0E9-F940-4C64-8F5E-788B77DB7180}" type="datetime'''''8'''''''''''''''',''''''''''4''''%'''">
              <a:rPr lang="pt-BR" altLang="en-US" sz="1400" smtClean="0"/>
              <a:pPr/>
              <a:t>8,4%</a:t>
            </a:fld>
            <a:endParaRPr lang="pt-BR" sz="1400" dirty="0"/>
          </a:p>
        </p:txBody>
      </p:sp>
      <p:sp>
        <p:nvSpPr>
          <p:cNvPr id="72" name="Espaço Reservado para Texto 2">
            <a:extLst>
              <a:ext uri="{FF2B5EF4-FFF2-40B4-BE49-F238E27FC236}">
                <a16:creationId xmlns:a16="http://schemas.microsoft.com/office/drawing/2014/main" id="{5403F4EF-941C-642F-565F-E7C6B0B5AA9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572125" y="5359400"/>
            <a:ext cx="1079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6753D7-3EE5-4475-A19D-A4683C412BC8}" type="datetime'Belo'' H''''''or''''i''''''''''''''''z''''''''o''''n''te'''">
              <a:rPr lang="pt-BR" altLang="en-US" sz="1400" smtClean="0"/>
              <a:pPr/>
              <a:t>Belo Horizonte</a:t>
            </a:fld>
            <a:endParaRPr lang="pt-BR" sz="1400" dirty="0"/>
          </a:p>
        </p:txBody>
      </p:sp>
      <p:sp>
        <p:nvSpPr>
          <p:cNvPr id="250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188200" y="3470275"/>
            <a:ext cx="4032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A0E27D-353D-45F6-9109-B2C257A6E24A}" type="datetime'''''8'''''''''',''''0''''''''''''''''%'''''">
              <a:rPr lang="pt-BR" altLang="en-US" sz="1400" smtClean="0"/>
              <a:pPr/>
              <a:t>8,0%</a:t>
            </a:fld>
            <a:endParaRPr lang="pt-BR" sz="1400" dirty="0"/>
          </a:p>
        </p:txBody>
      </p:sp>
      <p:sp>
        <p:nvSpPr>
          <p:cNvPr id="73" name="Espaço Reservado para Texto 2">
            <a:extLst>
              <a:ext uri="{FF2B5EF4-FFF2-40B4-BE49-F238E27FC236}">
                <a16:creationId xmlns:a16="http://schemas.microsoft.com/office/drawing/2014/main" id="{7F791674-ABBD-A0FA-A095-3BD23381342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121525" y="5359400"/>
            <a:ext cx="533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AFBB9B-033F-47EE-BDE6-617BAAF31D86}" type="datetime'''B''''''''''''''''''''r''a''''sí''l''ia'">
              <a:rPr lang="pt-BR" altLang="en-US" sz="1400" smtClean="0"/>
              <a:pPr/>
              <a:t>Brasília</a:t>
            </a:fld>
            <a:endParaRPr lang="pt-BR" sz="1400" dirty="0"/>
          </a:p>
        </p:txBody>
      </p:sp>
      <p:sp>
        <p:nvSpPr>
          <p:cNvPr id="251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464550" y="3641725"/>
            <a:ext cx="4032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5118A9-83F8-44B0-BD13-BD6A9C668CCD}" type="datetime'''''''''''''''''''''''''''7'',''''''1%'''''''''''''''''''">
              <a:rPr lang="pt-BR" altLang="en-US" sz="1400" smtClean="0"/>
              <a:pPr/>
              <a:t>7,1%</a:t>
            </a:fld>
            <a:endParaRPr lang="pt-BR" sz="1400" dirty="0"/>
          </a:p>
        </p:txBody>
      </p:sp>
      <p:sp>
        <p:nvSpPr>
          <p:cNvPr id="140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165350" y="4924425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BBD9AB-0E71-49D6-9620-1E0B97E96592}" type="datetime'''''''''''''''''''''''''''''''''''44'''''">
              <a:rPr lang="pt-BR" altLang="en-US" sz="1400" smtClean="0"/>
              <a:pPr/>
              <a:t>44</a:t>
            </a:fld>
            <a:endParaRPr lang="pt-BR" sz="1400" dirty="0"/>
          </a:p>
        </p:txBody>
      </p:sp>
      <p:sp>
        <p:nvSpPr>
          <p:cNvPr id="74" name="Espaço Reservado para Texto 2">
            <a:extLst>
              <a:ext uri="{FF2B5EF4-FFF2-40B4-BE49-F238E27FC236}">
                <a16:creationId xmlns:a16="http://schemas.microsoft.com/office/drawing/2014/main" id="{C2D6D692-04EE-8E80-5925-F14D1106835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372475" y="5359400"/>
            <a:ext cx="585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971B06-BA60-4390-8B33-E85198EF9320}" type="datetime'C''''''''''''u''''''r''''''i''''''t''ib''''''a'''''''''''">
              <a:rPr lang="pt-BR" altLang="en-US" sz="1400" smtClean="0"/>
              <a:pPr/>
              <a:t>Curitiba</a:t>
            </a:fld>
            <a:endParaRPr lang="pt-BR" sz="1400" dirty="0"/>
          </a:p>
        </p:txBody>
      </p:sp>
      <p:sp>
        <p:nvSpPr>
          <p:cNvPr id="75" name="Espaço Reservado para Texto 2">
            <a:extLst>
              <a:ext uri="{FF2B5EF4-FFF2-40B4-BE49-F238E27FC236}">
                <a16:creationId xmlns:a16="http://schemas.microsoft.com/office/drawing/2014/main" id="{AAA32DCB-CEA6-F20B-DE55-DCE92F874E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9658350" y="5359400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603645-BD57-43FB-AC45-E4B7D59A36C8}" type="datetime'''''''G''o''''''iâ''''''''n''''''''i''''a'''''''''''''''''''''">
              <a:rPr lang="pt-BR" altLang="en-US" sz="1400" smtClean="0"/>
              <a:pPr/>
              <a:t>Goiânia</a:t>
            </a:fld>
            <a:endParaRPr lang="pt-BR" sz="1400" dirty="0"/>
          </a:p>
        </p:txBody>
      </p:sp>
      <p:sp>
        <p:nvSpPr>
          <p:cNvPr id="253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1017250" y="4271963"/>
            <a:ext cx="4032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2A4EFA-F6AB-41E7-A963-D1F7BB9A2C6B}" type="datetime'3,''''''8''''''''''''''''%'''''''''''''''''''''''''''''">
              <a:rPr lang="pt-BR" altLang="en-US" sz="1400" smtClean="0"/>
              <a:pPr/>
              <a:t>3,8%</a:t>
            </a:fld>
            <a:endParaRPr lang="pt-BR" sz="1400" dirty="0"/>
          </a:p>
        </p:txBody>
      </p:sp>
      <p:sp>
        <p:nvSpPr>
          <p:cNvPr id="76" name="Espaço Reservado para Texto 2">
            <a:extLst>
              <a:ext uri="{FF2B5EF4-FFF2-40B4-BE49-F238E27FC236}">
                <a16:creationId xmlns:a16="http://schemas.microsoft.com/office/drawing/2014/main" id="{CC24F29E-4610-C9A0-B99E-BE7CB6B9421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745788" y="5359400"/>
            <a:ext cx="9445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D9406E-0D4B-4284-8AF9-0B80F7128AEC}" type="datetime'''Fl''o''rian''óp''''''''''''''o''''''l''''''''''''''i''''s'">
              <a:rPr lang="pt-BR" altLang="en-US" sz="1400" smtClean="0"/>
              <a:pPr/>
              <a:t>Florianópolis</a:t>
            </a:fld>
            <a:endParaRPr lang="pt-BR" sz="1400" dirty="0"/>
          </a:p>
        </p:txBody>
      </p:sp>
      <p:sp>
        <p:nvSpPr>
          <p:cNvPr id="141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441700" y="4906963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680E26-CE08-40B8-9645-6A1D1D9B141D}" type="datetime'''''4''''''''''''''''''''''''''''''''''''''9'''''''''''">
              <a:rPr lang="pt-BR" altLang="en-US" sz="1400" smtClean="0"/>
              <a:pPr/>
              <a:t>49</a:t>
            </a:fld>
            <a:endParaRPr lang="pt-BR" sz="1400" dirty="0"/>
          </a:p>
        </p:txBody>
      </p:sp>
      <p:sp>
        <p:nvSpPr>
          <p:cNvPr id="142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673601" y="443865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68E710-74F4-45BB-8997-C7C69149009A}" type="datetime'''1''''''7''''''''''''''9'''''''''''''''''''''''''''''">
              <a:rPr lang="pt-BR" altLang="en-US" sz="1400" smtClean="0"/>
              <a:pPr/>
              <a:t>179</a:t>
            </a:fld>
            <a:endParaRPr lang="pt-BR" sz="1400" dirty="0"/>
          </a:p>
        </p:txBody>
      </p:sp>
      <p:sp>
        <p:nvSpPr>
          <p:cNvPr id="147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1101388" y="5010150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3110C9-2051-4857-8E1D-EBCB3BD18E18}" type="datetime'''''''''''''''''''''''''''''''''2''''''0'''''''''">
              <a:rPr lang="pt-BR" altLang="en-US" sz="1400" smtClean="0"/>
              <a:pPr/>
              <a:t>20</a:t>
            </a:fld>
            <a:endParaRPr lang="pt-BR" sz="1400" dirty="0"/>
          </a:p>
        </p:txBody>
      </p:sp>
      <p:sp>
        <p:nvSpPr>
          <p:cNvPr id="143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995988" y="4783138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A984DE-AE20-41AC-9B99-54DA6C089583}" type="datetime'''''''''''''''8''''''''''''''''''''''3'''''''''''''">
              <a:rPr lang="pt-BR" altLang="en-US" sz="1400" smtClean="0"/>
              <a:pPr/>
              <a:t>83</a:t>
            </a:fld>
            <a:endParaRPr lang="pt-BR" sz="1400" dirty="0"/>
          </a:p>
        </p:txBody>
      </p:sp>
      <p:sp>
        <p:nvSpPr>
          <p:cNvPr id="144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272338" y="4946650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79DABB-6B02-4C11-B948-7F9445E2DAFD}" type="datetime'''''''''''''''3''''''''''''''''''8'''''''''">
              <a:rPr lang="pt-BR" altLang="en-US" sz="1400" smtClean="0"/>
              <a:pPr/>
              <a:t>38</a:t>
            </a:fld>
            <a:endParaRPr lang="pt-BR" sz="1400" dirty="0"/>
          </a:p>
        </p:txBody>
      </p:sp>
      <p:sp>
        <p:nvSpPr>
          <p:cNvPr id="146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9825038" y="5014913"/>
            <a:ext cx="231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EBD4AB-764C-4644-998B-5016B3ABB915}" type="datetime'''''1''''''''''''''''''''''''''''''''''''''''9'''''''''">
              <a:rPr lang="pt-BR" altLang="en-US" sz="1400" smtClean="0"/>
              <a:pPr/>
              <a:t>19</a:t>
            </a:fld>
            <a:endParaRPr lang="pt-BR" sz="1400" dirty="0"/>
          </a:p>
        </p:txBody>
      </p:sp>
      <p:cxnSp>
        <p:nvCxnSpPr>
          <p:cNvPr id="48" name="Conector reto 47">
            <a:extLst>
              <a:ext uri="{FF2B5EF4-FFF2-40B4-BE49-F238E27FC236}">
                <a16:creationId xmlns:a16="http://schemas.microsoft.com/office/drawing/2014/main" id="{D13766B6-6C1F-AD80-B0A1-EDE710AB0ADB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4132263" y="1695450"/>
            <a:ext cx="320675" cy="0"/>
          </a:xfrm>
          <a:prstGeom prst="line">
            <a:avLst/>
          </a:prstGeom>
          <a:ln w="28575" cap="rnd" cmpd="sng" algn="ctr">
            <a:solidFill>
              <a:srgbClr val="633758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Retângulo 48">
            <a:extLst>
              <a:ext uri="{FF2B5EF4-FFF2-40B4-BE49-F238E27FC236}">
                <a16:creationId xmlns:a16="http://schemas.microsoft.com/office/drawing/2014/main" id="{32826FD4-43C7-194F-8CD4-E4BAABB7E468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7021513" y="1601788"/>
            <a:ext cx="250825" cy="187325"/>
          </a:xfrm>
          <a:prstGeom prst="rect">
            <a:avLst/>
          </a:prstGeom>
          <a:solidFill>
            <a:srgbClr val="F2C037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8" name="Elipse 257">
            <a:extLst>
              <a:ext uri="{FF2B5EF4-FFF2-40B4-BE49-F238E27FC236}">
                <a16:creationId xmlns:a16="http://schemas.microsoft.com/office/drawing/2014/main" id="{5FD68BCA-7F19-FDCB-7665-DB73FE38CEA4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4248150" y="1651000"/>
            <a:ext cx="88900" cy="88900"/>
          </a:xfrm>
          <a:prstGeom prst="ellipse">
            <a:avLst/>
          </a:prstGeom>
          <a:solidFill>
            <a:srgbClr val="633758"/>
          </a:solidFill>
          <a:ln w="9525" cap="flat" cmpd="sng" algn="ctr">
            <a:solidFill>
              <a:srgbClr val="633758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3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518025" y="1612900"/>
            <a:ext cx="2303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A728191-31B7-4880-B8AE-DEB83825648B}" type="datetime'Taxa d''e'''' as''''''sin''antes d''''e ''''Co''ntr''a''''tos'">
              <a:rPr lang="pt-BR" altLang="en-US" sz="1400" smtClean="0"/>
              <a:pPr/>
              <a:t>Taxa de assinantes de Contratos</a:t>
            </a:fld>
            <a:endParaRPr lang="pt-BR" sz="1400" dirty="0"/>
          </a:p>
        </p:txBody>
      </p:sp>
      <p:sp>
        <p:nvSpPr>
          <p:cNvPr id="45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323138" y="1612900"/>
            <a:ext cx="2241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2BF8210-6445-40FE-9A33-BEA68A87FEB5}" type="datetime'I''nq''u''''ilinos'''' no ''funi''l'''''' de'' deman''da'">
              <a:rPr lang="pt-BR" altLang="en-US" sz="1400" smtClean="0"/>
              <a:pPr/>
              <a:t>Inquilinos no funil de demanda</a:t>
            </a:fld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33104193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2994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7" imgW="421" imgH="420" progId="TCLayout.ActiveDocument.1">
                  <p:embed/>
                </p:oleObj>
              </mc:Choice>
              <mc:Fallback>
                <p:oleObj name="Slide do think-cell" r:id="rId17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CaixaDeTexto 83">
            <a:extLst>
              <a:ext uri="{FF2B5EF4-FFF2-40B4-BE49-F238E27FC236}">
                <a16:creationId xmlns:a16="http://schemas.microsoft.com/office/drawing/2014/main" id="{3CE662F3-51A4-F9DB-D7CA-B4298C71DBCB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957BD"/>
                </a:solidFill>
              </a:rPr>
              <a:t>Devemos direcionar campanha em Campinas e Florianópolis para aumentarmos a quantidade de contratos assinados, visto o ticket médio.</a:t>
            </a:r>
            <a:endParaRPr lang="pt-BR" sz="2800" baseline="30000" dirty="0">
              <a:solidFill>
                <a:srgbClr val="3957BD"/>
              </a:solidFill>
            </a:endParaRPr>
          </a:p>
        </p:txBody>
      </p:sp>
      <p:sp>
        <p:nvSpPr>
          <p:cNvPr id="87" name="CaixaDeTexto 86">
            <a:extLst>
              <a:ext uri="{FF2B5EF4-FFF2-40B4-BE49-F238E27FC236}">
                <a16:creationId xmlns:a16="http://schemas.microsoft.com/office/drawing/2014/main" id="{95983569-DF73-54A2-81A0-412FBA3C2314}"/>
              </a:ext>
            </a:extLst>
          </p:cNvPr>
          <p:cNvSpPr txBox="1"/>
          <p:nvPr/>
        </p:nvSpPr>
        <p:spPr>
          <a:xfrm>
            <a:off x="368921" y="1642031"/>
            <a:ext cx="3846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i="1" dirty="0"/>
              <a:t>Ticket Médio por Contrato (em R$):</a:t>
            </a:r>
          </a:p>
        </p:txBody>
      </p:sp>
      <p:cxnSp>
        <p:nvCxnSpPr>
          <p:cNvPr id="88" name="Conector reto 87">
            <a:extLst>
              <a:ext uri="{FF2B5EF4-FFF2-40B4-BE49-F238E27FC236}">
                <a16:creationId xmlns:a16="http://schemas.microsoft.com/office/drawing/2014/main" id="{4FFA6C9F-921E-94C8-37CE-DE19BCD45787}"/>
              </a:ext>
            </a:extLst>
          </p:cNvPr>
          <p:cNvCxnSpPr>
            <a:cxnSpLocks/>
          </p:cNvCxnSpPr>
          <p:nvPr/>
        </p:nvCxnSpPr>
        <p:spPr>
          <a:xfrm>
            <a:off x="426720" y="2011363"/>
            <a:ext cx="3405505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9" name="Chart 3">
            <a:extLst>
              <a:ext uri="{FF2B5EF4-FFF2-40B4-BE49-F238E27FC236}">
                <a16:creationId xmlns:a16="http://schemas.microsoft.com/office/drawing/2014/main" id="{C37AE239-625C-EF09-B620-6EAF842BA25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581418"/>
              </p:ext>
            </p:extLst>
          </p:nvPr>
        </p:nvGraphicFramePr>
        <p:xfrm>
          <a:off x="285750" y="2152650"/>
          <a:ext cx="11653838" cy="3230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29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931025" y="5359400"/>
            <a:ext cx="9159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5376D8-A287-4B3B-A1DB-CE70159105C5}" type="datetime'''''''P''o''''''''rto'' ''''A''''''''leg''''r''''''''''''e'''">
              <a:rPr lang="pt-BR" altLang="en-US" sz="1400" smtClean="0"/>
              <a:pPr/>
              <a:t>Porto Alegre</a:t>
            </a:fld>
            <a:endParaRPr lang="pt-BR" sz="1400" dirty="0"/>
          </a:p>
        </p:txBody>
      </p:sp>
      <p:sp>
        <p:nvSpPr>
          <p:cNvPr id="22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198813" y="5359400"/>
            <a:ext cx="7191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8012F6-5F49-4BBB-AB1A-B6987C78C195}" type="datetime'''Ca''m''''''''p''''i''n''''''a''''''''''s'''">
              <a:rPr lang="pt-BR" altLang="en-US" sz="1400" smtClean="0"/>
              <a:pPr/>
              <a:t>Campinas</a:t>
            </a:fld>
            <a:endParaRPr lang="pt-BR" sz="1400" dirty="0"/>
          </a:p>
        </p:txBody>
      </p:sp>
      <p:sp>
        <p:nvSpPr>
          <p:cNvPr id="21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47700" y="5359400"/>
            <a:ext cx="7159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6FE25-24A5-4630-88ED-0BC58B9F6631}" type="datetime'''''''S''ã''''''''''''o'' ''P''''au''l''''''''''''''''''o'''''">
              <a:rPr lang="pt-BR" altLang="en-US" sz="1400" smtClean="0"/>
              <a:pPr/>
              <a:t>São Paulo</a:t>
            </a:fld>
            <a:endParaRPr lang="pt-BR" sz="1400" dirty="0"/>
          </a:p>
        </p:txBody>
      </p:sp>
      <p:sp>
        <p:nvSpPr>
          <p:cNvPr id="75" name="Espaço Reservado para Texto 2">
            <a:extLst>
              <a:ext uri="{FF2B5EF4-FFF2-40B4-BE49-F238E27FC236}">
                <a16:creationId xmlns:a16="http://schemas.microsoft.com/office/drawing/2014/main" id="{AAA32DCB-CEA6-F20B-DE55-DCE92F874ED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382000" y="5359400"/>
            <a:ext cx="5667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BCC8ED-F353-4976-A7AC-DE6126E4C26F}" type="datetime'''G''oi''''''''''â''''''n''''''i''a'''''''">
              <a:rPr lang="pt-BR" altLang="en-US" sz="1400" smtClean="0"/>
              <a:pPr/>
              <a:t>Goiânia</a:t>
            </a:fld>
            <a:endParaRPr lang="pt-BR" sz="1400" dirty="0"/>
          </a:p>
        </p:txBody>
      </p:sp>
      <p:sp>
        <p:nvSpPr>
          <p:cNvPr id="71" name="Espaço Reservado para Texto 2">
            <a:extLst>
              <a:ext uri="{FF2B5EF4-FFF2-40B4-BE49-F238E27FC236}">
                <a16:creationId xmlns:a16="http://schemas.microsoft.com/office/drawing/2014/main" id="{4A987DDE-434B-034A-6CD2-73FAF43126F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768475" y="5359400"/>
            <a:ext cx="10255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7B79FE-8424-4A03-BFBD-23CFDC39BE53}" type="datetime'''Ri''''''''o'''' de'''''' ''''''Jan''''''''''e''''''''iro'">
              <a:rPr lang="pt-BR" altLang="en-US" sz="1400" smtClean="0"/>
              <a:pPr/>
              <a:t>Rio de Janeiro</a:t>
            </a:fld>
            <a:endParaRPr lang="pt-BR" sz="1400" dirty="0"/>
          </a:p>
        </p:txBody>
      </p:sp>
      <p:sp>
        <p:nvSpPr>
          <p:cNvPr id="73" name="Espaço Reservado para Texto 2">
            <a:extLst>
              <a:ext uri="{FF2B5EF4-FFF2-40B4-BE49-F238E27FC236}">
                <a16:creationId xmlns:a16="http://schemas.microsoft.com/office/drawing/2014/main" id="{7F791674-ABBD-A0FA-A095-3BD23381342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950575" y="5359400"/>
            <a:ext cx="533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30CE48-85A4-4FB1-A9DD-E8F4B58AD24E}" type="datetime'''''''''B''r''''''''''a''''''s''íl''''i''a'''''">
              <a:rPr lang="pt-BR" altLang="en-US" sz="1400" smtClean="0"/>
              <a:pPr/>
              <a:t>Brasília</a:t>
            </a:fld>
            <a:endParaRPr lang="pt-BR" sz="1400" dirty="0"/>
          </a:p>
        </p:txBody>
      </p:sp>
      <p:sp>
        <p:nvSpPr>
          <p:cNvPr id="72" name="Espaço Reservado para Texto 2">
            <a:extLst>
              <a:ext uri="{FF2B5EF4-FFF2-40B4-BE49-F238E27FC236}">
                <a16:creationId xmlns:a16="http://schemas.microsoft.com/office/drawing/2014/main" id="{5403F4EF-941C-642F-565F-E7C6B0B5AA9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294188" y="5359400"/>
            <a:ext cx="10795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61FCD1-260E-4246-A54D-A9C476C80FE0}" type="datetime'Belo'' H''''''or''''i''''''''''''''''z''''''''o''''n''te'''">
              <a:rPr lang="pt-BR" altLang="en-US" sz="1400" smtClean="0"/>
              <a:pPr/>
              <a:t>Belo Horizonte</a:t>
            </a:fld>
            <a:endParaRPr lang="pt-BR" sz="1400" dirty="0"/>
          </a:p>
        </p:txBody>
      </p:sp>
      <p:sp>
        <p:nvSpPr>
          <p:cNvPr id="74" name="Espaço Reservado para Texto 2">
            <a:extLst>
              <a:ext uri="{FF2B5EF4-FFF2-40B4-BE49-F238E27FC236}">
                <a16:creationId xmlns:a16="http://schemas.microsoft.com/office/drawing/2014/main" id="{C2D6D692-04EE-8E80-5925-F14D1106835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648825" y="5359400"/>
            <a:ext cx="585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B1E438-157B-43DE-98A3-F5183028275F}" type="datetime'C''''''''''''u''''''r''''''i''''''t''ib''''''a'''''''''''">
              <a:rPr lang="pt-BR" altLang="en-US" sz="1400" smtClean="0"/>
              <a:pPr/>
              <a:t>Curitiba</a:t>
            </a:fld>
            <a:endParaRPr lang="pt-BR" sz="1400" dirty="0"/>
          </a:p>
        </p:txBody>
      </p:sp>
      <p:sp>
        <p:nvSpPr>
          <p:cNvPr id="76" name="Espaço Reservado para Texto 2">
            <a:extLst>
              <a:ext uri="{FF2B5EF4-FFF2-40B4-BE49-F238E27FC236}">
                <a16:creationId xmlns:a16="http://schemas.microsoft.com/office/drawing/2014/main" id="{CC24F29E-4610-C9A0-B99E-BE7CB6B9421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640388" y="5359400"/>
            <a:ext cx="9445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07017D-AF45-4BFB-AE7C-F92E0F1C2225}" type="datetime'''Fl''''o''ri''''''''a''''''''''''''''nóp''''''o''l''''''''is'">
              <a:rPr lang="pt-BR" altLang="en-US" sz="1400" smtClean="0"/>
              <a:pPr/>
              <a:t>Florianópolis</a:t>
            </a:fld>
            <a:endParaRPr lang="pt-BR" sz="1400" dirty="0"/>
          </a:p>
        </p:txBody>
      </p:sp>
      <p:sp>
        <p:nvSpPr>
          <p:cNvPr id="49" name="Retângulo 48">
            <a:extLst>
              <a:ext uri="{FF2B5EF4-FFF2-40B4-BE49-F238E27FC236}">
                <a16:creationId xmlns:a16="http://schemas.microsoft.com/office/drawing/2014/main" id="{32826FD4-43C7-194F-8CD4-E4BAABB7E468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475538" y="1712913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8" name="Retângulo 257">
            <a:extLst>
              <a:ext uri="{FF2B5EF4-FFF2-40B4-BE49-F238E27FC236}">
                <a16:creationId xmlns:a16="http://schemas.microsoft.com/office/drawing/2014/main" id="{5FD68BCA-7F19-FDCB-7665-DB73FE38CEA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064125" y="1743075"/>
            <a:ext cx="127000" cy="12700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3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303838" y="1724025"/>
            <a:ext cx="2070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6E15D9-1374-4BB0-B450-DB27D606CD4C}" type="datetime'Q''''td''''''''e d''e Co''''''''''ntr''at''os ass''''inad''os'">
              <a:rPr lang="pt-BR" altLang="en-US" sz="1400" smtClean="0"/>
              <a:pPr/>
              <a:t>Qtde de Contratos assinados</a:t>
            </a:fld>
            <a:endParaRPr lang="pt-BR" sz="1400" dirty="0"/>
          </a:p>
        </p:txBody>
      </p:sp>
      <p:sp>
        <p:nvSpPr>
          <p:cNvPr id="45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777163" y="1724025"/>
            <a:ext cx="15954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CCBF27A-71D4-4E8A-93BA-8E6D016D587A}" type="datetime'T''ic''ket-m''''''éd''''''i''o ''Alug''u''''''''''''''éis'">
              <a:rPr lang="pt-BR" altLang="en-US" sz="1400" smtClean="0"/>
              <a:pPr/>
              <a:t>Ticket-médio Aluguéis</a:t>
            </a:fld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36316131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D11EA1B-9BDB-E2C9-27CF-E8FAC17D24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D11EA1B-9BDB-E2C9-27CF-E8FAC17D2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ixaDeTexto 2">
            <a:extLst>
              <a:ext uri="{FF2B5EF4-FFF2-40B4-BE49-F238E27FC236}">
                <a16:creationId xmlns:a16="http://schemas.microsoft.com/office/drawing/2014/main" id="{F732C87E-F320-9C94-DED4-CAE794BAFC77}"/>
              </a:ext>
            </a:extLst>
          </p:cNvPr>
          <p:cNvSpPr txBox="1"/>
          <p:nvPr/>
        </p:nvSpPr>
        <p:spPr>
          <a:xfrm>
            <a:off x="334963" y="4208929"/>
            <a:ext cx="11721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O que é ?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05C01605-14B9-E665-8547-138797A4F474}"/>
              </a:ext>
            </a:extLst>
          </p:cNvPr>
          <p:cNvSpPr txBox="1"/>
          <p:nvPr/>
        </p:nvSpPr>
        <p:spPr>
          <a:xfrm>
            <a:off x="334962" y="4609038"/>
            <a:ext cx="1152207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chemeClr val="bg1"/>
                </a:solidFill>
              </a:rPr>
              <a:t>O relatório de performance das campanhas de marketing aplicadas nas cidades do Brasil durante o período de 21/02/21 até 29/05/21.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15BF366-247A-FACC-F2F1-6095190621B9}"/>
              </a:ext>
            </a:extLst>
          </p:cNvPr>
          <p:cNvSpPr txBox="1"/>
          <p:nvPr/>
        </p:nvSpPr>
        <p:spPr>
          <a:xfrm>
            <a:off x="334963" y="296863"/>
            <a:ext cx="115220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3957BD"/>
                </a:solidFill>
              </a:rPr>
              <a:t>Próximos Passos de Análises</a:t>
            </a:r>
            <a:r>
              <a:rPr lang="pt-BR" sz="4400" dirty="0">
                <a:solidFill>
                  <a:srgbClr val="3957BD"/>
                </a:solidFill>
              </a:rPr>
              <a:t> </a:t>
            </a:r>
            <a:endParaRPr lang="pt-BR" sz="4000" dirty="0">
              <a:solidFill>
                <a:srgbClr val="3957BD"/>
              </a:solidFill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052EAFD9-ABF3-FC98-0959-9BF9442A85BF}"/>
              </a:ext>
            </a:extLst>
          </p:cNvPr>
          <p:cNvSpPr txBox="1"/>
          <p:nvPr/>
        </p:nvSpPr>
        <p:spPr>
          <a:xfrm>
            <a:off x="427209" y="1066099"/>
            <a:ext cx="11522073" cy="655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800" dirty="0"/>
              <a:t>Dados necessário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2800" dirty="0"/>
              <a:t>Localização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pt-BR" sz="2800" dirty="0"/>
              <a:t>Bairro do imóvel/Região da cidade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pt-BR" sz="2800" dirty="0"/>
              <a:t>Objetivo: entender o avanço da atração em novos bairros e dos bairros fora da área de operação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2800" dirty="0"/>
              <a:t>Demografia do público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pt-BR" sz="2800" dirty="0"/>
              <a:t>Dados como idade, sexo, classe social, estado civil e tamanho da família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pt-BR" sz="2800" dirty="0"/>
              <a:t>Objetivo: entender o público que a campanha tem atraído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2800" dirty="0"/>
              <a:t>Tipo de Contrato Lead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pt-BR" sz="2800" dirty="0"/>
              <a:t>Proprietários buscando vender/alugar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pt-BR" sz="2800" dirty="0"/>
              <a:t>Objetivo: entender qual a demanda que temos atuado de forma mais efetiv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800" dirty="0"/>
          </a:p>
        </p:txBody>
      </p:sp>
    </p:spTree>
    <p:extLst>
      <p:ext uri="{BB962C8B-B14F-4D97-AF65-F5344CB8AC3E}">
        <p14:creationId xmlns:p14="http://schemas.microsoft.com/office/powerpoint/2010/main" val="15409256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17F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D11EA1B-9BDB-E2C9-27CF-E8FAC17D24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D11EA1B-9BDB-E2C9-27CF-E8FAC17D2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ixaDeTexto 2">
            <a:extLst>
              <a:ext uri="{FF2B5EF4-FFF2-40B4-BE49-F238E27FC236}">
                <a16:creationId xmlns:a16="http://schemas.microsoft.com/office/drawing/2014/main" id="{F732C87E-F320-9C94-DED4-CAE794BAFC77}"/>
              </a:ext>
            </a:extLst>
          </p:cNvPr>
          <p:cNvSpPr txBox="1"/>
          <p:nvPr/>
        </p:nvSpPr>
        <p:spPr>
          <a:xfrm>
            <a:off x="334962" y="296863"/>
            <a:ext cx="111088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Por quê?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05C01605-14B9-E665-8547-138797A4F474}"/>
              </a:ext>
            </a:extLst>
          </p:cNvPr>
          <p:cNvSpPr txBox="1"/>
          <p:nvPr/>
        </p:nvSpPr>
        <p:spPr>
          <a:xfrm>
            <a:off x="334962" y="759924"/>
            <a:ext cx="1152207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chemeClr val="bg1"/>
                </a:solidFill>
              </a:rPr>
              <a:t>Buscamos aumentar a quantidade de proprietários cadastrados dentro das nossas áreas de operação em algumas cidades em que atuamos.</a:t>
            </a:r>
          </a:p>
        </p:txBody>
      </p:sp>
    </p:spTree>
    <p:extLst>
      <p:ext uri="{BB962C8B-B14F-4D97-AF65-F5344CB8AC3E}">
        <p14:creationId xmlns:p14="http://schemas.microsoft.com/office/powerpoint/2010/main" val="34884296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337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D11EA1B-9BDB-E2C9-27CF-E8FAC17D24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D11EA1B-9BDB-E2C9-27CF-E8FAC17D2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ixaDeTexto 2">
            <a:extLst>
              <a:ext uri="{FF2B5EF4-FFF2-40B4-BE49-F238E27FC236}">
                <a16:creationId xmlns:a16="http://schemas.microsoft.com/office/drawing/2014/main" id="{F732C87E-F320-9C94-DED4-CAE794BAFC77}"/>
              </a:ext>
            </a:extLst>
          </p:cNvPr>
          <p:cNvSpPr txBox="1"/>
          <p:nvPr/>
        </p:nvSpPr>
        <p:spPr>
          <a:xfrm>
            <a:off x="396120" y="2115215"/>
            <a:ext cx="9140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Como?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05C01605-14B9-E665-8547-138797A4F474}"/>
              </a:ext>
            </a:extLst>
          </p:cNvPr>
          <p:cNvSpPr txBox="1"/>
          <p:nvPr/>
        </p:nvSpPr>
        <p:spPr>
          <a:xfrm>
            <a:off x="396120" y="2515325"/>
            <a:ext cx="1152207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chemeClr val="bg1"/>
                </a:solidFill>
              </a:rPr>
              <a:t>Realizamos uma campanha nos principais veículos de comunicação.</a:t>
            </a:r>
          </a:p>
        </p:txBody>
      </p:sp>
    </p:spTree>
    <p:extLst>
      <p:ext uri="{BB962C8B-B14F-4D97-AF65-F5344CB8AC3E}">
        <p14:creationId xmlns:p14="http://schemas.microsoft.com/office/powerpoint/2010/main" val="30193317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957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D11EA1B-9BDB-E2C9-27CF-E8FAC17D24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D11EA1B-9BDB-E2C9-27CF-E8FAC17D2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ixaDeTexto 2">
            <a:extLst>
              <a:ext uri="{FF2B5EF4-FFF2-40B4-BE49-F238E27FC236}">
                <a16:creationId xmlns:a16="http://schemas.microsoft.com/office/drawing/2014/main" id="{F732C87E-F320-9C94-DED4-CAE794BAFC77}"/>
              </a:ext>
            </a:extLst>
          </p:cNvPr>
          <p:cNvSpPr txBox="1"/>
          <p:nvPr/>
        </p:nvSpPr>
        <p:spPr>
          <a:xfrm>
            <a:off x="334963" y="4208929"/>
            <a:ext cx="111440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O que é?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05C01605-14B9-E665-8547-138797A4F474}"/>
              </a:ext>
            </a:extLst>
          </p:cNvPr>
          <p:cNvSpPr txBox="1"/>
          <p:nvPr/>
        </p:nvSpPr>
        <p:spPr>
          <a:xfrm>
            <a:off x="334962" y="4609038"/>
            <a:ext cx="1152207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chemeClr val="bg1"/>
                </a:solidFill>
              </a:rPr>
              <a:t>Relatório de performance da campanha de marketing aplicada nas cidades do Brasil durante o período de 21/02/21 até 29/05/21.</a:t>
            </a:r>
          </a:p>
        </p:txBody>
      </p:sp>
    </p:spTree>
    <p:extLst>
      <p:ext uri="{BB962C8B-B14F-4D97-AF65-F5344CB8AC3E}">
        <p14:creationId xmlns:p14="http://schemas.microsoft.com/office/powerpoint/2010/main" val="32499610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D11EA1B-9BDB-E2C9-27CF-E8FAC17D24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D11EA1B-9BDB-E2C9-27CF-E8FAC17D2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ixaDeTexto 2">
            <a:extLst>
              <a:ext uri="{FF2B5EF4-FFF2-40B4-BE49-F238E27FC236}">
                <a16:creationId xmlns:a16="http://schemas.microsoft.com/office/drawing/2014/main" id="{F732C87E-F320-9C94-DED4-CAE794BAFC77}"/>
              </a:ext>
            </a:extLst>
          </p:cNvPr>
          <p:cNvSpPr txBox="1"/>
          <p:nvPr/>
        </p:nvSpPr>
        <p:spPr>
          <a:xfrm>
            <a:off x="334963" y="4208929"/>
            <a:ext cx="11721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</a:rPr>
              <a:t>O que é ?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05C01605-14B9-E665-8547-138797A4F474}"/>
              </a:ext>
            </a:extLst>
          </p:cNvPr>
          <p:cNvSpPr txBox="1"/>
          <p:nvPr/>
        </p:nvSpPr>
        <p:spPr>
          <a:xfrm>
            <a:off x="334962" y="4609038"/>
            <a:ext cx="1152207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chemeClr val="bg1"/>
                </a:solidFill>
              </a:rPr>
              <a:t>O relatório de performance das campanhas de marketing aplicadas nas cidades do Brasil durante o período de 21/02/21 até 29/05/21.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15BF366-247A-FACC-F2F1-6095190621B9}"/>
              </a:ext>
            </a:extLst>
          </p:cNvPr>
          <p:cNvSpPr txBox="1"/>
          <p:nvPr/>
        </p:nvSpPr>
        <p:spPr>
          <a:xfrm>
            <a:off x="334963" y="296863"/>
            <a:ext cx="1152207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dirty="0">
                <a:solidFill>
                  <a:srgbClr val="3957BD"/>
                </a:solidFill>
              </a:rPr>
              <a:t>Panorama dos Resultados da Campanha</a:t>
            </a:r>
          </a:p>
          <a:p>
            <a:r>
              <a:rPr lang="pt-BR" sz="4000" dirty="0">
                <a:solidFill>
                  <a:srgbClr val="3957BD"/>
                </a:solidFill>
              </a:rPr>
              <a:t>1</a:t>
            </a:r>
            <a:r>
              <a:rPr lang="pt-BR" sz="4400" baseline="30000" dirty="0">
                <a:solidFill>
                  <a:srgbClr val="3957BD"/>
                </a:solidFill>
              </a:rPr>
              <a:t>0</a:t>
            </a:r>
            <a:r>
              <a:rPr lang="pt-BR" sz="4400" dirty="0">
                <a:solidFill>
                  <a:srgbClr val="3957BD"/>
                </a:solidFill>
              </a:rPr>
              <a:t> Semestre de 2021 </a:t>
            </a:r>
            <a:endParaRPr lang="pt-BR" sz="4000" dirty="0">
              <a:solidFill>
                <a:srgbClr val="3957BD"/>
              </a:solidFill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052EAFD9-ABF3-FC98-0959-9BF9442A85BF}"/>
              </a:ext>
            </a:extLst>
          </p:cNvPr>
          <p:cNvSpPr txBox="1"/>
          <p:nvPr/>
        </p:nvSpPr>
        <p:spPr>
          <a:xfrm>
            <a:off x="334963" y="1909482"/>
            <a:ext cx="11522073" cy="71711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Crescimento de 123% e 95% na geração dos leads do 1</a:t>
            </a:r>
            <a:r>
              <a:rPr lang="pt-BR" sz="2400" baseline="30000" dirty="0"/>
              <a:t>0</a:t>
            </a:r>
            <a:r>
              <a:rPr lang="pt-BR" sz="2400" dirty="0"/>
              <a:t> e 2</a:t>
            </a:r>
            <a:r>
              <a:rPr lang="pt-BR" sz="2400" baseline="30000" dirty="0"/>
              <a:t>0</a:t>
            </a:r>
            <a:r>
              <a:rPr lang="pt-BR" sz="2400" dirty="0"/>
              <a:t> Trimestre de 2021, respectivamente, comparado com o mesmo período do ano anterio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Os nossos principais veículos de campanha: TV Aberta e “Out </a:t>
            </a:r>
            <a:r>
              <a:rPr lang="pt-BR" sz="2400" dirty="0" err="1"/>
              <a:t>of</a:t>
            </a:r>
            <a:r>
              <a:rPr lang="pt-BR" sz="2400" dirty="0"/>
              <a:t> Home” totalizam 86% dos meios de comunicaçã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As principais cidades com foco da campanha: São Paulo, Rio de Janeiro e Porto Alegre totalizando 80% do investiment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Para reduzir a taxa média de perda de leads de 18%, precisamos expandir a operação para os bairros de São Paulo, Goiânia e Belo Horizont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As cidades com a melhor taxa de conversão de inquilino demandante em efetivação de contrato: São Paulo, Campinas e Porto Aleg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Devemos iniciar novas campanhas com um meio de comunicação específico no final da semana e aumentar a visibilidade com mix de veículos nos dias seguintes, aumentando o investiment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800" dirty="0"/>
          </a:p>
        </p:txBody>
      </p:sp>
    </p:spTree>
    <p:extLst>
      <p:ext uri="{BB962C8B-B14F-4D97-AF65-F5344CB8AC3E}">
        <p14:creationId xmlns:p14="http://schemas.microsoft.com/office/powerpoint/2010/main" val="9625062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2718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9" imgW="421" imgH="420" progId="TCLayout.ActiveDocument.1">
                  <p:embed/>
                </p:oleObj>
              </mc:Choice>
              <mc:Fallback>
                <p:oleObj name="Slide do think-cell" r:id="rId39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88" name="Chart 3">
            <a:extLst>
              <a:ext uri="{FF2B5EF4-FFF2-40B4-BE49-F238E27FC236}">
                <a16:creationId xmlns:a16="http://schemas.microsoft.com/office/drawing/2014/main" id="{15C7A922-FC07-163B-5B45-CF3970F8ACA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5159"/>
              </p:ext>
            </p:extLst>
          </p:nvPr>
        </p:nvGraphicFramePr>
        <p:xfrm>
          <a:off x="488950" y="3028950"/>
          <a:ext cx="10999788" cy="2686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cxnSp>
        <p:nvCxnSpPr>
          <p:cNvPr id="305" name="Conector reto 304">
            <a:extLst>
              <a:ext uri="{FF2B5EF4-FFF2-40B4-BE49-F238E27FC236}">
                <a16:creationId xmlns:a16="http://schemas.microsoft.com/office/drawing/2014/main" id="{43CD86D1-7EEE-1DAE-E1FB-4A9740E069D7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9239250" y="267017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3" name="Conector reto 302">
            <a:extLst>
              <a:ext uri="{FF2B5EF4-FFF2-40B4-BE49-F238E27FC236}">
                <a16:creationId xmlns:a16="http://schemas.microsoft.com/office/drawing/2014/main" id="{90443A85-845B-0B1E-AB44-A828E96D0B65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571500" y="2670175"/>
            <a:ext cx="0" cy="15430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4" name="Conector reto 303">
            <a:extLst>
              <a:ext uri="{FF2B5EF4-FFF2-40B4-BE49-F238E27FC236}">
                <a16:creationId xmlns:a16="http://schemas.microsoft.com/office/drawing/2014/main" id="{AC3C3557-44D8-7EF9-2CF9-2CF572528D5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571499" y="2670175"/>
            <a:ext cx="86677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2" name="Conector reto 311">
            <a:extLst>
              <a:ext uri="{FF2B5EF4-FFF2-40B4-BE49-F238E27FC236}">
                <a16:creationId xmlns:a16="http://schemas.microsoft.com/office/drawing/2014/main" id="{4F5A5E9B-72A6-9CC0-BD25-319B00704ED3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2738438" y="2457450"/>
            <a:ext cx="0" cy="18478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7" name="Conector reto 316">
            <a:extLst>
              <a:ext uri="{FF2B5EF4-FFF2-40B4-BE49-F238E27FC236}">
                <a16:creationId xmlns:a16="http://schemas.microsoft.com/office/drawing/2014/main" id="{39002D01-EFC6-E58B-07E7-82581DDD5E4F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2738437" y="2457450"/>
            <a:ext cx="86677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8" name="Conector reto 317">
            <a:extLst>
              <a:ext uri="{FF2B5EF4-FFF2-40B4-BE49-F238E27FC236}">
                <a16:creationId xmlns:a16="http://schemas.microsoft.com/office/drawing/2014/main" id="{FAEACCBF-0139-FCF4-0176-9116E94B6BD1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11406188" y="2457450"/>
            <a:ext cx="0" cy="8572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578100" y="434340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404130-24AB-41C1-A8F3-AEBD8BAF6782}" type="datetime'''''''''''''''''''2''''''''''''''8''''''''''''''4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4</a:t>
            </a:fld>
            <a:endParaRPr lang="pt-BR" sz="1400" dirty="0"/>
          </a:p>
        </p:txBody>
      </p:sp>
      <p:sp>
        <p:nvSpPr>
          <p:cNvPr id="48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1430000" y="5135563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2D2D95D-4D6D-47A1-8927-7A915EBAF599}" type="datetime'''''''''''''''6''''''''''''''''''''''''''''''2'''">
              <a:rPr lang="pt-BR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2</a:t>
            </a:fld>
            <a:endParaRPr lang="pt-BR" sz="1200" dirty="0"/>
          </a:p>
        </p:txBody>
      </p:sp>
      <p:sp>
        <p:nvSpPr>
          <p:cNvPr id="27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11163" y="4251325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236264-88A1-4C71-9AF7-0D158022D77E}" type="datetime'3''''''''''''''''0''''''''''''''''9''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9</a:t>
            </a:fld>
            <a:endParaRPr lang="pt-BR" sz="1400" dirty="0"/>
          </a:p>
        </p:txBody>
      </p:sp>
      <p:sp>
        <p:nvSpPr>
          <p:cNvPr id="29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15913" y="5316538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23D8651-A956-4804-9EB8-51ABD4B33CD1}" type="datetime'''4''''''''''9'''''''''''''''''''''''''''''''''''''''''''">
              <a:rPr lang="pt-BR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9</a:t>
            </a:fld>
            <a:endParaRPr lang="pt-BR" sz="1200" dirty="0"/>
          </a:p>
        </p:txBody>
      </p:sp>
      <p:sp>
        <p:nvSpPr>
          <p:cNvPr id="139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42900" y="569118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48D5ED-EA77-4738-B3E4-1F262BD4F3C3}" type="datetime'''''''Q1''''''''''-2''''''''''''''''''''0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Q1-20</a:t>
            </a:fld>
            <a:endParaRPr lang="pt-BR" sz="1400" dirty="0"/>
          </a:p>
        </p:txBody>
      </p:sp>
      <p:sp>
        <p:nvSpPr>
          <p:cNvPr id="28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11150" y="5022850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366075E-F691-4CFE-AD1D-247D11F04370}" type="datetime'''''''''''''''''''''9''''''''''''''''''''''''''''''''''''5'''">
              <a:rPr lang="pt-BR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5</a:t>
            </a:fld>
            <a:endParaRPr lang="pt-BR" sz="1200" dirty="0"/>
          </a:p>
        </p:txBody>
      </p:sp>
      <p:sp>
        <p:nvSpPr>
          <p:cNvPr id="30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15913" y="5500688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3FE20F-A32C-416F-BEC6-D36F227F7C7F}" type="datetime'''''''''''''''''''''''''''''''''''''''''''''26'''''''''">
              <a:rPr lang="pt-BR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pt-BR" sz="1200" dirty="0"/>
          </a:p>
        </p:txBody>
      </p:sp>
      <p:sp>
        <p:nvSpPr>
          <p:cNvPr id="140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509838" y="569118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6714C1-CA90-47B4-A86A-6140876D1A67}" type="datetime'''''''Q''''''''2''''''-''2''''''''''''''''''''''''0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Q2-20</a:t>
            </a:fld>
            <a:endParaRPr lang="pt-BR" sz="1400" dirty="0"/>
          </a:p>
        </p:txBody>
      </p:sp>
      <p:sp>
        <p:nvSpPr>
          <p:cNvPr id="35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745038" y="379095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A3D579-C32B-47E9-9415-0A5510D9F68C}" type="datetime'''4''''''''''''''''''''''''''''3''''''''''''''''''''''5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5</a:t>
            </a:fld>
            <a:endParaRPr lang="pt-BR" sz="1400" dirty="0"/>
          </a:p>
        </p:txBody>
      </p:sp>
      <p:sp>
        <p:nvSpPr>
          <p:cNvPr id="141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676775" y="569118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50AE7B-8B3A-4D46-B35F-94B6A7B28C55}" type="datetime'''''''''Q''''''''''''3''''''''-2''''''''''''''''''''0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Q3-20</a:t>
            </a:fld>
            <a:endParaRPr lang="pt-BR" sz="1400" dirty="0"/>
          </a:p>
        </p:txBody>
      </p:sp>
      <p:sp>
        <p:nvSpPr>
          <p:cNvPr id="39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911975" y="3382963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0744B4-425D-4AF1-B0AC-136B772B9338}" type="datetime'''5''''''''''''''''''''4''''6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6</a:t>
            </a:fld>
            <a:endParaRPr lang="pt-BR" sz="1400" dirty="0"/>
          </a:p>
        </p:txBody>
      </p:sp>
      <p:sp>
        <p:nvSpPr>
          <p:cNvPr id="142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843713" y="569118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8B4902-A446-4A0D-B374-1A267DD46ED9}" type="datetime'''''Q4-2''''''''''''''''''0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Q4-20</a:t>
            </a:fld>
            <a:endParaRPr lang="pt-BR" sz="1400" dirty="0"/>
          </a:p>
        </p:txBody>
      </p:sp>
      <p:sp>
        <p:nvSpPr>
          <p:cNvPr id="43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9078913" y="2860675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367B47-203C-40D6-AE69-B8AC7CA19270}" type="datetime'''''''''''6''8''''''''''''''''''''''9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89</a:t>
            </a:fld>
            <a:endParaRPr lang="pt-BR" sz="1400" dirty="0"/>
          </a:p>
        </p:txBody>
      </p:sp>
      <p:sp>
        <p:nvSpPr>
          <p:cNvPr id="143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010650" y="5691188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6FB1D9-1CA4-4370-B8C3-65CB373C1BB4}" type="datetime'''Q''''''''1''-''''''''2''''''''''''''''''''''''''1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Q1-21</a:t>
            </a:fld>
            <a:endParaRPr lang="pt-BR" sz="1400" dirty="0"/>
          </a:p>
        </p:txBody>
      </p:sp>
      <p:sp>
        <p:nvSpPr>
          <p:cNvPr id="47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1245850" y="335280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7F01DC-2A12-46D7-A202-B02C4F53A1D2}" type="datetime'''''''5''''''''''''''''''''''''5''4''''''''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4</a:t>
            </a:fld>
            <a:endParaRPr lang="pt-BR" sz="1400" dirty="0"/>
          </a:p>
        </p:txBody>
      </p:sp>
      <p:sp>
        <p:nvSpPr>
          <p:cNvPr id="49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1449050" y="5365750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460935-0EF1-4218-B533-75E166669075}" type="datetime'''''''''''''3''''''''''''''''''''9'">
              <a:rPr lang="pt-BR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9</a:t>
            </a:fld>
            <a:endParaRPr lang="pt-BR" sz="1200" dirty="0"/>
          </a:p>
        </p:txBody>
      </p:sp>
      <p:sp>
        <p:nvSpPr>
          <p:cNvPr id="50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1444288" y="5545138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4344F62-51DA-461D-9629-4D6B2C2C1D95}" type="datetime'''''2''''''''''''''''''''''''''''''''''''''''3'''''''''''">
              <a:rPr lang="pt-BR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3</a:t>
            </a:fld>
            <a:endParaRPr lang="pt-BR" sz="1200" dirty="0"/>
          </a:p>
        </p:txBody>
      </p:sp>
      <p:sp>
        <p:nvSpPr>
          <p:cNvPr id="144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1133138" y="5691188"/>
            <a:ext cx="546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DADF7C-AD02-49C1-A417-5A08F125DEE3}" type="datetime'Q''''''''''''''''''''''2''-''2''''''1''*'''''''''''''''''">
              <a:rPr lang="pt-BR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Q2-21*</a:t>
            </a:fld>
            <a:endParaRPr lang="pt-BR" sz="1400" dirty="0"/>
          </a:p>
        </p:txBody>
      </p:sp>
      <p:sp>
        <p:nvSpPr>
          <p:cNvPr id="301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559300" y="2533650"/>
            <a:ext cx="6937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EADE3F-07A2-49C0-94BA-9A1441AA2B55}" type="datetime'''''''+''''''''1''2''''''''''''''''''3''''''''''''''''''%'''''">
              <a:rPr lang="pt-BR" altLang="en-US" sz="1400" b="1" smtClean="0">
                <a:effectLst/>
              </a:rPr>
              <a:pPr/>
              <a:t>+123%</a:t>
            </a:fld>
            <a:endParaRPr lang="pt-BR" sz="1400" b="1" dirty="0"/>
          </a:p>
        </p:txBody>
      </p:sp>
      <p:sp>
        <p:nvSpPr>
          <p:cNvPr id="327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789738" y="2320925"/>
            <a:ext cx="5667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290BEE-1DED-4346-ADD9-134AC01CF34B}" type="datetime'''''''''''''''''''''''''''+''''9''5''''''%'''''''''''''''''">
              <a:rPr lang="pt-BR" altLang="en-US" sz="14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95%</a:t>
            </a:fld>
            <a:endParaRPr lang="pt-BR" sz="1400" b="1" dirty="0"/>
          </a:p>
        </p:txBody>
      </p:sp>
      <p:sp>
        <p:nvSpPr>
          <p:cNvPr id="181" name="CaixaDeTexto 180">
            <a:extLst>
              <a:ext uri="{FF2B5EF4-FFF2-40B4-BE49-F238E27FC236}">
                <a16:creationId xmlns:a16="http://schemas.microsoft.com/office/drawing/2014/main" id="{10B365C1-51DD-A143-73DC-17DB3D6FCEF2}"/>
              </a:ext>
            </a:extLst>
          </p:cNvPr>
          <p:cNvSpPr txBox="1"/>
          <p:nvPr/>
        </p:nvSpPr>
        <p:spPr>
          <a:xfrm>
            <a:off x="368921" y="1642031"/>
            <a:ext cx="48946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i="1" dirty="0"/>
              <a:t>Funil de Conversão com quantidade média (em k):</a:t>
            </a:r>
          </a:p>
        </p:txBody>
      </p:sp>
      <p:cxnSp>
        <p:nvCxnSpPr>
          <p:cNvPr id="216" name="Conector reto 215">
            <a:extLst>
              <a:ext uri="{FF2B5EF4-FFF2-40B4-BE49-F238E27FC236}">
                <a16:creationId xmlns:a16="http://schemas.microsoft.com/office/drawing/2014/main" id="{2B9BFA47-D9E4-3258-8A2C-F0BA7063F15B}"/>
              </a:ext>
            </a:extLst>
          </p:cNvPr>
          <p:cNvCxnSpPr>
            <a:cxnSpLocks/>
          </p:cNvCxnSpPr>
          <p:nvPr/>
        </p:nvCxnSpPr>
        <p:spPr>
          <a:xfrm>
            <a:off x="426720" y="2011363"/>
            <a:ext cx="4700906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4" name="CaixaDeTexto 283">
            <a:extLst>
              <a:ext uri="{FF2B5EF4-FFF2-40B4-BE49-F238E27FC236}">
                <a16:creationId xmlns:a16="http://schemas.microsoft.com/office/drawing/2014/main" id="{1F39F7B2-689A-32AA-5370-B3E58664BBF3}"/>
              </a:ext>
            </a:extLst>
          </p:cNvPr>
          <p:cNvSpPr txBox="1"/>
          <p:nvPr/>
        </p:nvSpPr>
        <p:spPr>
          <a:xfrm>
            <a:off x="334963" y="296863"/>
            <a:ext cx="1152207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957BD"/>
                </a:solidFill>
              </a:rPr>
              <a:t>Durante a campanha, observamos um aumento de 123% e 95% na geração dos leads do 1</a:t>
            </a:r>
            <a:r>
              <a:rPr lang="pt-BR" sz="2800" b="1" baseline="30000" dirty="0">
                <a:solidFill>
                  <a:srgbClr val="3957BD"/>
                </a:solidFill>
              </a:rPr>
              <a:t>0</a:t>
            </a:r>
            <a:r>
              <a:rPr lang="pt-BR" sz="2800" b="1" dirty="0">
                <a:solidFill>
                  <a:srgbClr val="3957BD"/>
                </a:solidFill>
              </a:rPr>
              <a:t> e 2</a:t>
            </a:r>
            <a:r>
              <a:rPr lang="pt-BR" sz="2800" b="1" baseline="30000" dirty="0">
                <a:solidFill>
                  <a:srgbClr val="3957BD"/>
                </a:solidFill>
              </a:rPr>
              <a:t>0</a:t>
            </a:r>
            <a:r>
              <a:rPr lang="pt-BR" sz="2800" b="1" dirty="0">
                <a:solidFill>
                  <a:srgbClr val="3957BD"/>
                </a:solidFill>
              </a:rPr>
              <a:t> Trimestre de 2021, respectivamente, comparado com  </a:t>
            </a:r>
          </a:p>
          <a:p>
            <a:r>
              <a:rPr lang="pt-BR" sz="2800" b="1" dirty="0">
                <a:solidFill>
                  <a:srgbClr val="3957BD"/>
                </a:solidFill>
              </a:rPr>
              <a:t>o mesmo período do ano anterior. </a:t>
            </a:r>
            <a:endParaRPr lang="pt-BR" sz="2800" baseline="30000" dirty="0">
              <a:solidFill>
                <a:srgbClr val="3957BD"/>
              </a:solidFill>
            </a:endParaRPr>
          </a:p>
        </p:txBody>
      </p:sp>
      <p:sp>
        <p:nvSpPr>
          <p:cNvPr id="287" name="CaixaDeTexto 286">
            <a:extLst>
              <a:ext uri="{FF2B5EF4-FFF2-40B4-BE49-F238E27FC236}">
                <a16:creationId xmlns:a16="http://schemas.microsoft.com/office/drawing/2014/main" id="{CCC9DAE6-4C68-1A72-F9B5-C2BEAC8BB7AC}"/>
              </a:ext>
            </a:extLst>
          </p:cNvPr>
          <p:cNvSpPr txBox="1"/>
          <p:nvPr/>
        </p:nvSpPr>
        <p:spPr>
          <a:xfrm>
            <a:off x="286990" y="5941497"/>
            <a:ext cx="62441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fld id="{0E0D3A30-94C6-4184-918D-6431064EB8BB}" type="datetime'Q''''''''''''''''''''''2''-''2''''''1''*'''''''''''''''''">
              <a:rPr lang="pt-BR" altLang="en-US" sz="1800" smtClean="0"/>
              <a:pPr/>
              <a:t>Q2-21*</a:t>
            </a:fld>
            <a:r>
              <a:rPr lang="pt-BR" altLang="en-US" dirty="0"/>
              <a:t> -</a:t>
            </a:r>
            <a:r>
              <a:rPr lang="pt-BR" altLang="en-US" sz="1800" dirty="0"/>
              <a:t> Junho não foi incluído, pois não temos os dados. </a:t>
            </a:r>
            <a:r>
              <a:rPr lang="pt-BR" b="1" dirty="0"/>
              <a:t> </a:t>
            </a:r>
          </a:p>
        </p:txBody>
      </p:sp>
      <p:cxnSp>
        <p:nvCxnSpPr>
          <p:cNvPr id="274" name="Conector reto 273">
            <a:extLst>
              <a:ext uri="{FF2B5EF4-FFF2-40B4-BE49-F238E27FC236}">
                <a16:creationId xmlns:a16="http://schemas.microsoft.com/office/drawing/2014/main" id="{35810579-CB66-3FA6-35D4-A1258E2842DC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6807200" y="1841500"/>
            <a:ext cx="212725" cy="0"/>
          </a:xfrm>
          <a:prstGeom prst="line">
            <a:avLst/>
          </a:prstGeom>
          <a:ln w="38100" cap="rnd" cmpd="sng" algn="ctr">
            <a:solidFill>
              <a:srgbClr val="3957B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7" name="Conector reto 276">
            <a:extLst>
              <a:ext uri="{FF2B5EF4-FFF2-40B4-BE49-F238E27FC236}">
                <a16:creationId xmlns:a16="http://schemas.microsoft.com/office/drawing/2014/main" id="{C6067DEA-D7D2-844C-516E-043E7AEC3E50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8916988" y="1841500"/>
            <a:ext cx="212725" cy="0"/>
          </a:xfrm>
          <a:prstGeom prst="line">
            <a:avLst/>
          </a:prstGeom>
          <a:ln w="3810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6" name="Conector reto 275">
            <a:extLst>
              <a:ext uri="{FF2B5EF4-FFF2-40B4-BE49-F238E27FC236}">
                <a16:creationId xmlns:a16="http://schemas.microsoft.com/office/drawing/2014/main" id="{9DE87070-841E-0301-2631-73B6140D7E5A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7623175" y="1841500"/>
            <a:ext cx="212725" cy="0"/>
          </a:xfrm>
          <a:prstGeom prst="line">
            <a:avLst/>
          </a:prstGeom>
          <a:ln w="3810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8" name="Conector reto 277">
            <a:extLst>
              <a:ext uri="{FF2B5EF4-FFF2-40B4-BE49-F238E27FC236}">
                <a16:creationId xmlns:a16="http://schemas.microsoft.com/office/drawing/2014/main" id="{8D47507F-895A-F136-D4F5-4E6477A1E756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10212388" y="1841500"/>
            <a:ext cx="212725" cy="0"/>
          </a:xfrm>
          <a:prstGeom prst="line">
            <a:avLst/>
          </a:prstGeom>
          <a:ln w="3810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3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199563" y="1758950"/>
            <a:ext cx="8921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2D55A7-1C62-4AED-B5F6-BD171E4A1022}" type="datetime'''''Qu''''al''''''''''''''''''''''''if''''''ic''''''ad''os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Qualificados</a:t>
            </a:fld>
            <a:endParaRPr lang="pt-BR" sz="1400" dirty="0"/>
          </a:p>
        </p:txBody>
      </p:sp>
      <p:sp>
        <p:nvSpPr>
          <p:cNvPr id="260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089775" y="1758950"/>
            <a:ext cx="412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2898858-29B2-4C09-B7EE-2BCD00BBB2C9}" type="datetime'''L''''''e''a''''''''d''''''''''''''s''''''''''''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eads</a:t>
            </a:fld>
            <a:endParaRPr lang="pt-BR" sz="1400" dirty="0"/>
          </a:p>
        </p:txBody>
      </p:sp>
      <p:sp>
        <p:nvSpPr>
          <p:cNvPr id="264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494963" y="1758950"/>
            <a:ext cx="12906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DF998CB-5B76-4A30-9ADB-4456B3CF92A0}" type="datetime'P''ri''''''''m''''''ei''ra ''''L''i''s''''t''''''ag''''e''m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rimeira Listagem</a:t>
            </a:fld>
            <a:endParaRPr lang="pt-BR" sz="1400" dirty="0"/>
          </a:p>
        </p:txBody>
      </p:sp>
      <p:sp>
        <p:nvSpPr>
          <p:cNvPr id="262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905750" y="1758950"/>
            <a:ext cx="8905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D72F861-1A48-4D04-94BD-C06516D60AB6}" type="datetime'''''De''''''s''''ca''rt''''''''''a''''''d''os'''''''''''">
              <a:rPr lang="pt-BR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escartados</a:t>
            </a:fld>
            <a:endParaRPr lang="pt-BR" sz="1400" dirty="0"/>
          </a:p>
        </p:txBody>
      </p:sp>
      <p:sp>
        <p:nvSpPr>
          <p:cNvPr id="386" name="Retângulo 385">
            <a:extLst>
              <a:ext uri="{FF2B5EF4-FFF2-40B4-BE49-F238E27FC236}">
                <a16:creationId xmlns:a16="http://schemas.microsoft.com/office/drawing/2014/main" id="{AB1A9771-7CC4-FF46-40B3-B53F07512769}"/>
              </a:ext>
            </a:extLst>
          </p:cNvPr>
          <p:cNvSpPr/>
          <p:nvPr/>
        </p:nvSpPr>
        <p:spPr>
          <a:xfrm>
            <a:off x="8459074" y="2320925"/>
            <a:ext cx="3265328" cy="3670298"/>
          </a:xfrm>
          <a:prstGeom prst="rect">
            <a:avLst/>
          </a:prstGeom>
          <a:noFill/>
          <a:ln w="38100">
            <a:solidFill>
              <a:srgbClr val="633758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87" name="CaixaDeTexto 386">
            <a:extLst>
              <a:ext uri="{FF2B5EF4-FFF2-40B4-BE49-F238E27FC236}">
                <a16:creationId xmlns:a16="http://schemas.microsoft.com/office/drawing/2014/main" id="{CD3FF697-C072-0F20-22AD-5A44F6DFD899}"/>
              </a:ext>
            </a:extLst>
          </p:cNvPr>
          <p:cNvSpPr txBox="1"/>
          <p:nvPr/>
        </p:nvSpPr>
        <p:spPr>
          <a:xfrm>
            <a:off x="9010190" y="6045862"/>
            <a:ext cx="29921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rgbClr val="633758"/>
                </a:solidFill>
              </a:rPr>
              <a:t>Período da campanha</a:t>
            </a:r>
          </a:p>
        </p:txBody>
      </p:sp>
    </p:spTree>
    <p:extLst>
      <p:ext uri="{BB962C8B-B14F-4D97-AF65-F5344CB8AC3E}">
        <p14:creationId xmlns:p14="http://schemas.microsoft.com/office/powerpoint/2010/main" val="9571386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094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9" imgW="421" imgH="420" progId="TCLayout.ActiveDocument.1">
                  <p:embed/>
                </p:oleObj>
              </mc:Choice>
              <mc:Fallback>
                <p:oleObj name="Slide do think-cell" r:id="rId39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9" name="Chart 3">
            <a:extLst>
              <a:ext uri="{FF2B5EF4-FFF2-40B4-BE49-F238E27FC236}">
                <a16:creationId xmlns:a16="http://schemas.microsoft.com/office/drawing/2014/main" id="{D8FBBD5F-85CD-2B85-ACA7-C8602E47CA8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922093"/>
              </p:ext>
            </p:extLst>
          </p:nvPr>
        </p:nvGraphicFramePr>
        <p:xfrm>
          <a:off x="179388" y="2468563"/>
          <a:ext cx="11747500" cy="3587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cxnSp>
        <p:nvCxnSpPr>
          <p:cNvPr id="1025" name="Conector reto 1024">
            <a:extLst>
              <a:ext uri="{FF2B5EF4-FFF2-40B4-BE49-F238E27FC236}">
                <a16:creationId xmlns:a16="http://schemas.microsoft.com/office/drawing/2014/main" id="{91B14B82-18C2-E619-4159-D593C3FA6D44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 flipH="1">
            <a:off x="2438400" y="5297488"/>
            <a:ext cx="952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Conector reto 189">
            <a:extLst>
              <a:ext uri="{FF2B5EF4-FFF2-40B4-BE49-F238E27FC236}">
                <a16:creationId xmlns:a16="http://schemas.microsoft.com/office/drawing/2014/main" id="{536BCCCE-FC51-5506-6560-7B4BD985604A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2438400" y="5686425"/>
            <a:ext cx="952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3" name="Conector reto 1032">
            <a:extLst>
              <a:ext uri="{FF2B5EF4-FFF2-40B4-BE49-F238E27FC236}">
                <a16:creationId xmlns:a16="http://schemas.microsoft.com/office/drawing/2014/main" id="{02BEA6C0-B1D2-91E6-746E-33DCC41AF76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11125200" y="5453063"/>
            <a:ext cx="95250" cy="1698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Conector reto 58">
            <a:extLst>
              <a:ext uri="{FF2B5EF4-FFF2-40B4-BE49-F238E27FC236}">
                <a16:creationId xmlns:a16="http://schemas.microsoft.com/office/drawing/2014/main" id="{5E599DC5-5BC0-56B2-AF01-696BD3CB906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11125200" y="5783263"/>
            <a:ext cx="95250" cy="166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Conector reto 57">
            <a:extLst>
              <a:ext uri="{FF2B5EF4-FFF2-40B4-BE49-F238E27FC236}">
                <a16:creationId xmlns:a16="http://schemas.microsoft.com/office/drawing/2014/main" id="{A906091B-EACB-67EE-EBB5-F9FADAB625AB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8229600" y="5783262"/>
            <a:ext cx="95250" cy="1714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371600" y="6046788"/>
            <a:ext cx="6762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3C30EA-876C-4ABC-BCFA-A8E0B8E6AEC8}" type="datetime'''''''''''2''''''0''''''''''2''1''''''''-F''''e''''''''v'''">
              <a:rPr lang="pt-BR" altLang="en-US" sz="1400" smtClean="0"/>
              <a:pPr/>
              <a:t>2021-Fev</a:t>
            </a:fld>
            <a:endParaRPr lang="pt-BR" sz="1400" dirty="0"/>
          </a:p>
        </p:txBody>
      </p:sp>
      <p:sp>
        <p:nvSpPr>
          <p:cNvPr id="52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0134600" y="2306638"/>
            <a:ext cx="5238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8B4DFE-DC23-4CFF-9181-E28FD548B364}" type="datetime'2''''''''''''''''.''''''''''''''''''''''''''''''96''2'''''''">
              <a:rPr lang="pt-BR" altLang="en-US" sz="1600" b="1" smtClean="0"/>
              <a:pPr/>
              <a:t>2.962</a:t>
            </a:fld>
            <a:endParaRPr lang="pt-BR" sz="1600" b="1" dirty="0"/>
          </a:p>
        </p:txBody>
      </p:sp>
      <p:sp>
        <p:nvSpPr>
          <p:cNvPr id="146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339013" y="5657850"/>
            <a:ext cx="323850" cy="330200"/>
          </a:xfrm>
          <a:prstGeom prst="rect">
            <a:avLst/>
          </a:prstGeom>
          <a:solidFill>
            <a:srgbClr val="CFB5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0CB48A-500B-499E-8C1D-62DA91945081}" type="datetime'''''''''''''''''''''''''''''''''''4''3''''4'''''''''''''''">
              <a:rPr lang="pt-BR" altLang="en-US" sz="1200" smtClean="0"/>
              <a:pPr/>
              <a:t>434</a:t>
            </a:fld>
            <a:br>
              <a:rPr lang="pt-BR" altLang="en-US" sz="1200">
                <a:effectLst/>
              </a:rPr>
            </a:br>
            <a:r>
              <a:rPr lang="pt-BR" altLang="en-US" sz="1200">
                <a:effectLst/>
              </a:rPr>
              <a:t>(</a:t>
            </a:r>
            <a:fld id="{2BD99CB2-B3EF-44FE-B1A7-8135DFE2616C}" type="datetime'''''''''''''''''''''''''''7''''''''''''%'''''''''''''">
              <a:rPr lang="pt-BR" altLang="en-US" sz="1200" smtClean="0"/>
              <a:pPr/>
              <a:t>7%</a:t>
            </a:fld>
            <a:r>
              <a:rPr lang="pt-BR" altLang="en-US" sz="1200">
                <a:effectLst/>
              </a:rPr>
              <a:t>)</a:t>
            </a:r>
            <a:endParaRPr lang="pt-BR" sz="1200" dirty="0"/>
          </a:p>
        </p:txBody>
      </p:sp>
      <p:sp>
        <p:nvSpPr>
          <p:cNvPr id="137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533650" y="5132388"/>
            <a:ext cx="3238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EA0B12C-B976-4EB5-A6BA-4907580EA8B7}" type="datetime'''3''''''''''''''''''''''''''4'''''''">
              <a:rPr lang="pt-BR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4</a:t>
            </a:fld>
            <a:br>
              <a:rPr lang="pt-BR" altLang="en-US" sz="1200">
                <a:effectLst/>
              </a:rPr>
            </a:br>
            <a:r>
              <a:rPr lang="pt-BR" altLang="en-US" sz="1200">
                <a:effectLst/>
              </a:rPr>
              <a:t>(</a:t>
            </a:r>
            <a:fld id="{5ADF711B-9738-4142-BE77-4498E22CC735}" type="datetime'6''''''''''''''''''''''''''''''''''''%'''''''''">
              <a:rPr lang="pt-BR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r>
              <a:rPr lang="pt-BR" altLang="en-US" sz="1200">
                <a:effectLst/>
              </a:rPr>
              <a:t>)</a:t>
            </a:r>
            <a:endParaRPr lang="pt-BR" sz="1200" dirty="0"/>
          </a:p>
        </p:txBody>
      </p:sp>
      <p:sp>
        <p:nvSpPr>
          <p:cNvPr id="136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509713" y="3708400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66795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258060-E563-4D1B-A0F9-2F79875124DB}" type="datetime'''''''439'''''''''''''''''''''''''''''">
              <a:rPr lang="pt-BR" altLang="en-US" sz="1200" smtClean="0">
                <a:solidFill>
                  <a:schemeClr val="bg1"/>
                </a:solidFill>
              </a:rPr>
              <a:pPr/>
              <a:t>439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4C2A5F0D-58E4-4AAB-A0E4-A369C49AF2BA}" type="datetime'''''''7''7%'''''''">
              <a:rPr lang="pt-BR" altLang="en-US" sz="1200" smtClean="0">
                <a:solidFill>
                  <a:schemeClr val="bg1"/>
                </a:solidFill>
              </a:rPr>
              <a:pPr/>
              <a:t>77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138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533650" y="5521325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47DC9EA-3478-4E7B-B9FD-FEE5BD072E24}" type="datetime'''''''''''''''''''''''''''''''''''''''''9''5'''''''''''">
              <a:rPr lang="pt-BR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5</a:t>
            </a:fld>
            <a:br>
              <a:rPr lang="pt-BR" altLang="en-US" sz="1200">
                <a:effectLst/>
              </a:rPr>
            </a:br>
            <a:r>
              <a:rPr lang="pt-BR" altLang="en-US" sz="1200">
                <a:effectLst/>
              </a:rPr>
              <a:t>(</a:t>
            </a:r>
            <a:fld id="{761F325B-EC67-4F44-B139-0D3395C2C2B2}" type="datetime'''1''''''''''''''''''''''''''''7''''''''''''%'''''''''''''">
              <a:rPr lang="pt-BR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r>
              <a:rPr lang="pt-BR" altLang="en-US" sz="1200">
                <a:effectLst/>
              </a:rPr>
              <a:t>)</a:t>
            </a:r>
            <a:endParaRPr lang="pt-BR" sz="1200" dirty="0"/>
          </a:p>
        </p:txBody>
      </p:sp>
      <p:sp>
        <p:nvSpPr>
          <p:cNvPr id="140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405313" y="3332163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3DFB68-1672-4BD3-A084-6BB03E61911E}" type="datetime'''''''''''''''''2.''''9''''''''''''4''9'''''">
              <a:rPr lang="pt-BR" altLang="en-US" sz="1200" smtClean="0">
                <a:solidFill>
                  <a:schemeClr val="bg1"/>
                </a:solidFill>
              </a:rPr>
              <a:pPr/>
              <a:t>2.949</a:t>
            </a:fld>
            <a:br>
              <a:rPr lang="pt-BR" altLang="en-US" sz="1200">
                <a:solidFill>
                  <a:schemeClr val="bg1"/>
                </a:solidFill>
                <a:effectLst/>
              </a:rPr>
            </a:br>
            <a:r>
              <a:rPr lang="pt-BR" altLang="en-US" sz="1200">
                <a:solidFill>
                  <a:schemeClr val="bg1"/>
                </a:solidFill>
                <a:effectLst/>
              </a:rPr>
              <a:t>(</a:t>
            </a:r>
            <a:fld id="{5F756865-11E8-4091-82CD-4F7183C3938E}" type="datetime'''''''''''5''''''''''''5''''''''''''''''''%'''''''''''">
              <a:rPr lang="pt-BR" altLang="en-US" sz="1200" smtClean="0">
                <a:solidFill>
                  <a:schemeClr val="bg1"/>
                </a:solidFill>
              </a:rPr>
              <a:pPr/>
              <a:t>55%</a:t>
            </a:fld>
            <a:r>
              <a:rPr lang="pt-BR" altLang="en-US" sz="120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141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405313" y="4705350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41E2B6-9876-4A77-8FE8-3DFFB15E3159}" type="datetime'1''''''.''''''''''''''3''''''''''''''''''''''''''2''9'''''">
              <a:rPr lang="pt-BR" altLang="en-US" sz="1200" smtClean="0"/>
              <a:pPr/>
              <a:t>1.329</a:t>
            </a:fld>
            <a:br>
              <a:rPr lang="pt-BR" altLang="en-US" sz="1200">
                <a:effectLst/>
              </a:rPr>
            </a:br>
            <a:r>
              <a:rPr lang="pt-BR" altLang="en-US" sz="1200">
                <a:effectLst/>
              </a:rPr>
              <a:t>(</a:t>
            </a:r>
            <a:fld id="{64122E1F-3256-4D46-B8F0-F934D11BE577}" type="datetime'''''''''''''''''''''2''''''5''''''%'''''''''">
              <a:rPr lang="pt-BR" altLang="en-US" sz="1200" smtClean="0"/>
              <a:pPr/>
              <a:t>25%</a:t>
            </a:fld>
            <a:r>
              <a:rPr lang="pt-BR" altLang="en-US" sz="1200">
                <a:effectLst/>
              </a:rPr>
              <a:t>)</a:t>
            </a:r>
            <a:endParaRPr lang="pt-BR" sz="1200" dirty="0"/>
          </a:p>
        </p:txBody>
      </p:sp>
      <p:sp>
        <p:nvSpPr>
          <p:cNvPr id="142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405313" y="5470525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13A83D-9219-40BE-9E05-55835BA9782C}" type="datetime'''''1.''''''''''''''''''''''0''5''''''''''''''2'''''''''''''">
              <a:rPr lang="pt-BR" altLang="en-US" sz="1200" smtClean="0"/>
              <a:pPr/>
              <a:t>1.052</a:t>
            </a:fld>
            <a:br>
              <a:rPr lang="pt-BR" altLang="en-US" sz="1200">
                <a:effectLst/>
              </a:rPr>
            </a:br>
            <a:r>
              <a:rPr lang="pt-BR" altLang="en-US" sz="1200">
                <a:effectLst/>
              </a:rPr>
              <a:t>(</a:t>
            </a:r>
            <a:fld id="{04626489-7147-44AE-B08B-CA770885059E}" type="datetime'''''''''''''2''''''''''''0''''%'''''''''''''''''">
              <a:rPr lang="pt-BR" altLang="en-US" sz="1200" smtClean="0"/>
              <a:pPr/>
              <a:t>20%</a:t>
            </a:fld>
            <a:r>
              <a:rPr lang="pt-BR" altLang="en-US" sz="1200">
                <a:effectLst/>
              </a:rPr>
              <a:t>)</a:t>
            </a:r>
            <a:endParaRPr lang="pt-BR" sz="1200" dirty="0"/>
          </a:p>
        </p:txBody>
      </p:sp>
      <p:sp>
        <p:nvSpPr>
          <p:cNvPr id="7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241800" y="6046788"/>
            <a:ext cx="728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31F78F-6C5B-4057-8B92-207110A972B2}" type="datetime'''2''''''''''''''''0''2''''''''''''1-Ma''''''''''''''''r'">
              <a:rPr lang="pt-BR" altLang="en-US" sz="1400" smtClean="0"/>
              <a:pPr/>
              <a:t>2021-Mar</a:t>
            </a:fld>
            <a:endParaRPr lang="pt-BR" sz="1400" dirty="0"/>
          </a:p>
        </p:txBody>
      </p:sp>
      <p:sp>
        <p:nvSpPr>
          <p:cNvPr id="144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300913" y="3260725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AEC4C2-05CF-42DC-B5DC-5F910BEA8F42}" type="datetime'''3.''''''''''''''''''''''''''3''''7''''1'''''''''''''''''''''">
              <a:rPr lang="pt-BR" altLang="en-US" sz="1200" smtClean="0">
                <a:solidFill>
                  <a:schemeClr val="bg1"/>
                </a:solidFill>
              </a:rPr>
              <a:pPr/>
              <a:t>3.371</a:t>
            </a:fld>
            <a:br>
              <a:rPr lang="pt-BR" altLang="en-US" sz="1200">
                <a:solidFill>
                  <a:schemeClr val="bg1"/>
                </a:solidFill>
                <a:effectLst/>
              </a:rPr>
            </a:br>
            <a:r>
              <a:rPr lang="pt-BR" altLang="en-US" sz="1200">
                <a:solidFill>
                  <a:schemeClr val="bg1"/>
                </a:solidFill>
                <a:effectLst/>
              </a:rPr>
              <a:t>(</a:t>
            </a:r>
            <a:fld id="{E7D47441-5730-401E-AB4E-1407502044F3}" type="datetime'5''''''''''''1''''''''''''''''''''''''''''''''''''''''''%'''''">
              <a:rPr lang="pt-BR" altLang="en-US" sz="1200" smtClean="0">
                <a:solidFill>
                  <a:schemeClr val="bg1"/>
                </a:solidFill>
              </a:rPr>
              <a:pPr/>
              <a:t>51%</a:t>
            </a:fld>
            <a:r>
              <a:rPr lang="pt-BR" altLang="en-US" sz="120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145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300913" y="4840288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F1F0E8-3F0D-4C2C-AC9A-5D94FB0762E2}" type="datetime'''''''''''''''2.''''''''''''''''''''''''7''1''''''''''5'''''''">
              <a:rPr lang="pt-BR" altLang="en-US" sz="1200" smtClean="0"/>
              <a:pPr/>
              <a:t>2.715</a:t>
            </a:fld>
            <a:br>
              <a:rPr lang="pt-BR" altLang="en-US" sz="1200" dirty="0">
                <a:effectLst/>
              </a:rPr>
            </a:br>
            <a:r>
              <a:rPr lang="pt-BR" altLang="en-US" sz="1200" dirty="0">
                <a:effectLst/>
              </a:rPr>
              <a:t>(</a:t>
            </a:r>
            <a:fld id="{CB9D47A6-CC7C-47CB-AFD2-36A4439A7E9B}" type="datetime'''''''4''''''1''''''%'''''''''">
              <a:rPr lang="pt-BR" altLang="en-US" sz="1200" smtClean="0"/>
              <a:pPr/>
              <a:t>41%</a:t>
            </a:fld>
            <a:r>
              <a:rPr lang="pt-BR" altLang="en-US" sz="1200" dirty="0">
                <a:effectLst/>
              </a:rPr>
              <a:t>)</a:t>
            </a:r>
            <a:endParaRPr lang="pt-BR" sz="1200" dirty="0"/>
          </a:p>
        </p:txBody>
      </p:sp>
      <p:sp>
        <p:nvSpPr>
          <p:cNvPr id="8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158038" y="6046788"/>
            <a:ext cx="6873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3AA227-8D8E-4799-B28E-717D647174CA}" type="datetime'2''''''''''0''''''2''''''''1-''A''''''br'''''''''''''">
              <a:rPr lang="pt-BR" altLang="en-US" sz="1400" smtClean="0"/>
              <a:pPr/>
              <a:t>2021-Abr</a:t>
            </a:fld>
            <a:endParaRPr lang="pt-BR" sz="1400" dirty="0"/>
          </a:p>
        </p:txBody>
      </p:sp>
      <p:sp>
        <p:nvSpPr>
          <p:cNvPr id="150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0196513" y="3425825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9EA9F2-99BF-41FA-BFFB-5DD0B47D7EFE}" type="datetime'''''''''''''''''1.''''''''''''''''''8''0''''''''''''''1'''">
              <a:rPr lang="pt-BR" altLang="en-US" sz="1200" smtClean="0">
                <a:solidFill>
                  <a:schemeClr val="bg1"/>
                </a:solidFill>
              </a:rPr>
              <a:pPr/>
              <a:t>1.801</a:t>
            </a:fld>
            <a:br>
              <a:rPr lang="pt-BR" altLang="en-US" sz="1200" dirty="0">
                <a:solidFill>
                  <a:schemeClr val="bg1"/>
                </a:solidFill>
                <a:effectLst/>
              </a:rPr>
            </a:br>
            <a:r>
              <a:rPr lang="pt-BR" altLang="en-US" sz="1200" dirty="0">
                <a:solidFill>
                  <a:schemeClr val="bg1"/>
                </a:solidFill>
                <a:effectLst/>
              </a:rPr>
              <a:t>(</a:t>
            </a:r>
            <a:fld id="{096214DB-066E-42E6-B44F-BD17C545C557}" type="datetime'6''''''1''''''''''''''''''''''''''''''''''''''%'">
              <a:rPr lang="pt-BR" altLang="en-US" sz="1200" smtClean="0">
                <a:solidFill>
                  <a:schemeClr val="bg1"/>
                </a:solidFill>
              </a:rPr>
              <a:pPr/>
              <a:t>61%</a:t>
            </a:fld>
            <a:r>
              <a:rPr lang="pt-BR" altLang="en-US" sz="1200" dirty="0">
                <a:solidFill>
                  <a:schemeClr val="bg1"/>
                </a:solidFill>
                <a:effectLst/>
              </a:rPr>
              <a:t>)</a:t>
            </a:r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151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196513" y="4810125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7D3F85-F1A2-427C-A98A-A3D833ED5489}" type="datetime'''5''''''''''''''''''''''''9''''''''''''''''''''5'''">
              <a:rPr lang="pt-BR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5</a:t>
            </a:fld>
            <a:br>
              <a:rPr lang="pt-BR" altLang="en-US" sz="1200">
                <a:effectLst/>
              </a:rPr>
            </a:br>
            <a:r>
              <a:rPr lang="pt-BR" altLang="en-US" sz="1200">
                <a:effectLst/>
              </a:rPr>
              <a:t>(</a:t>
            </a:r>
            <a:fld id="{D399C947-737C-4B68-B2F8-95EE2CDF3ED7}" type="datetime'''''''''2''''''''''0''''''''''%'''''''''''''''''''''''''">
              <a:rPr lang="pt-BR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r>
              <a:rPr lang="pt-BR" altLang="en-US" sz="1200">
                <a:effectLst/>
              </a:rPr>
              <a:t>)</a:t>
            </a:r>
            <a:endParaRPr lang="pt-BR" sz="1200" dirty="0"/>
          </a:p>
        </p:txBody>
      </p:sp>
      <p:sp>
        <p:nvSpPr>
          <p:cNvPr id="36" name="Espaço Reservado para Texto 2">
            <a:extLst>
              <a:ext uri="{FF2B5EF4-FFF2-40B4-BE49-F238E27FC236}">
                <a16:creationId xmlns:a16="http://schemas.microsoft.com/office/drawing/2014/main" id="{B9879759-F86A-9F4F-2CC3-EA7D2997925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1220450" y="5618163"/>
            <a:ext cx="3238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C0B74D1-1F12-4300-A64A-CC2B8F0F20B1}" type="datetime'4''''''''''''''''''''0'''''''''''''''''''">
              <a:rPr lang="pt-BR" altLang="en-US" sz="1200" smtClean="0"/>
              <a:pPr/>
              <a:t>40</a:t>
            </a:fld>
            <a:br>
              <a:rPr lang="pt-BR" altLang="en-US" sz="1200"/>
            </a:br>
            <a:r>
              <a:rPr lang="pt-BR" altLang="en-US" sz="1200"/>
              <a:t>(</a:t>
            </a:r>
            <a:fld id="{47150964-15B2-4265-8892-39D81C5AD20B}" type="datetime'''''''''''''''''''''1''''''''''''''''''''''''''''''''%'''''''">
              <a:rPr lang="pt-BR" altLang="en-US" sz="1200" smtClean="0"/>
              <a:pPr/>
              <a:t>1%</a:t>
            </a:fld>
            <a:r>
              <a:rPr lang="pt-BR" sz="1200"/>
              <a:t>)</a:t>
            </a:r>
            <a:endParaRPr lang="pt-BR" sz="1200" dirty="0"/>
          </a:p>
        </p:txBody>
      </p:sp>
      <p:sp>
        <p:nvSpPr>
          <p:cNvPr id="152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1220450" y="5287963"/>
            <a:ext cx="401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32D2497-DFED-4DC8-BC5C-D3276113EBBF}" type="datetime'''''''''''''''''5''''''''2''''5''''''''''''''''''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25</a:t>
            </a:fld>
            <a:br>
              <a:rPr lang="pt-BR" altLang="en-US" sz="1200">
                <a:effectLst/>
              </a:rPr>
            </a:br>
            <a:r>
              <a:rPr lang="pt-BR" altLang="en-US" sz="1200">
                <a:effectLst/>
              </a:rPr>
              <a:t>(</a:t>
            </a:r>
            <a:fld id="{11ED9C5F-1ABE-4329-AB3C-2BE9B86B685D}" type="datetime'1''''''''''''''''''''''''''''''''''8''''''''%'''''''''''''''">
              <a:rPr lang="pt-BR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8%</a:t>
            </a:fld>
            <a:r>
              <a:rPr lang="pt-BR" altLang="en-US" sz="1200">
                <a:effectLst/>
              </a:rPr>
              <a:t>)</a:t>
            </a:r>
            <a:endParaRPr lang="pt-BR" sz="1200" dirty="0"/>
          </a:p>
        </p:txBody>
      </p:sp>
      <p:sp>
        <p:nvSpPr>
          <p:cNvPr id="42" name="Espaço Reservado para Texto 2">
            <a:extLst>
              <a:ext uri="{FF2B5EF4-FFF2-40B4-BE49-F238E27FC236}">
                <a16:creationId xmlns:a16="http://schemas.microsoft.com/office/drawing/2014/main" id="{9F55FDEF-CABF-C0E1-9DD9-DB0F267765F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042525" y="6046788"/>
            <a:ext cx="708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AEC102-EB7D-4A5B-8CF9-54B6739514E8}" type="datetime'''''2''''''0''''''''''''''''2''1-''M''''''''''''''a''i'''''">
              <a:rPr lang="pt-BR" altLang="en-US" sz="1400" smtClean="0"/>
              <a:pPr/>
              <a:t>2021-Mai</a:t>
            </a:fld>
            <a:endParaRPr lang="pt-BR" sz="1400" dirty="0"/>
          </a:p>
        </p:txBody>
      </p:sp>
      <p:sp>
        <p:nvSpPr>
          <p:cNvPr id="35" name="Espaço Reservado para Texto 2">
            <a:extLst>
              <a:ext uri="{FF2B5EF4-FFF2-40B4-BE49-F238E27FC236}">
                <a16:creationId xmlns:a16="http://schemas.microsoft.com/office/drawing/2014/main" id="{B30D955E-4ED3-D5A0-7A22-2321E315916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324850" y="5618163"/>
            <a:ext cx="3238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6160B6F-E31C-4E9B-AC8A-BA715996B9F2}" type="datetime'''''7''''''''''''''4'''''">
              <a:rPr lang="pt-BR" altLang="en-US" sz="1200" smtClean="0"/>
              <a:pPr/>
              <a:t>74</a:t>
            </a:fld>
            <a:br>
              <a:rPr lang="pt-BR" altLang="en-US" sz="1200"/>
            </a:br>
            <a:r>
              <a:rPr lang="pt-BR" altLang="en-US" sz="1200"/>
              <a:t>(</a:t>
            </a:r>
            <a:fld id="{86DC30B6-24CC-462E-ACA0-E0B3567BF355}" type="datetime'''''''''''1''''''''''''''''''''''''''%'''''''''''">
              <a:rPr lang="pt-BR" altLang="en-US" sz="1200" smtClean="0"/>
              <a:pPr/>
              <a:t>1%</a:t>
            </a:fld>
            <a:r>
              <a:rPr lang="pt-BR" sz="1200"/>
              <a:t>)</a:t>
            </a:r>
            <a:endParaRPr lang="pt-BR" sz="1200" dirty="0"/>
          </a:p>
        </p:txBody>
      </p:sp>
      <p:sp>
        <p:nvSpPr>
          <p:cNvPr id="38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527175" y="2306638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369210-C3B6-4FB5-A409-6F641DC730C5}" type="datetime'5''''''''''''6''''''''''''''''''8'''''''''''''''''">
              <a:rPr lang="pt-BR" altLang="en-US" sz="1600" b="1" smtClean="0"/>
              <a:pPr/>
              <a:t>568</a:t>
            </a:fld>
            <a:endParaRPr lang="pt-BR" sz="1600" b="1" dirty="0"/>
          </a:p>
        </p:txBody>
      </p:sp>
      <p:sp>
        <p:nvSpPr>
          <p:cNvPr id="43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343400" y="2306638"/>
            <a:ext cx="5238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967D6B-79C4-4FD9-8510-C30F3923C642}" type="datetime'''5''''''''''''''''''''.''''''''''''''''''33''''''''0'''''''''">
              <a:rPr lang="pt-BR" altLang="en-US" sz="1600" b="1" smtClean="0"/>
              <a:pPr/>
              <a:t>5.330</a:t>
            </a:fld>
            <a:endParaRPr lang="pt-BR" sz="1600" b="1" dirty="0"/>
          </a:p>
        </p:txBody>
      </p:sp>
      <p:sp>
        <p:nvSpPr>
          <p:cNvPr id="48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239000" y="2306638"/>
            <a:ext cx="5238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C15A38-FA6C-4709-B952-2A49A9DE6B36}" type="datetime'''''''''''''''''6''''''''''''''''''''''.''59''''''''''''''4'">
              <a:rPr lang="pt-BR" altLang="en-US" sz="1600" b="1" smtClean="0"/>
              <a:pPr/>
              <a:t>6.594</a:t>
            </a:fld>
            <a:endParaRPr lang="pt-BR" sz="1600" b="1" dirty="0"/>
          </a:p>
        </p:txBody>
      </p:sp>
      <p:sp>
        <p:nvSpPr>
          <p:cNvPr id="108" name="Retângulo 107">
            <a:extLst>
              <a:ext uri="{FF2B5EF4-FFF2-40B4-BE49-F238E27FC236}">
                <a16:creationId xmlns:a16="http://schemas.microsoft.com/office/drawing/2014/main" id="{64C13A77-DCB5-83E6-B408-01754E5D0A25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3530600" y="1652588"/>
            <a:ext cx="250825" cy="187325"/>
          </a:xfrm>
          <a:prstGeom prst="rect">
            <a:avLst/>
          </a:prstGeom>
          <a:solidFill>
            <a:srgbClr val="46679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1" name="Retângulo 120">
            <a:extLst>
              <a:ext uri="{FF2B5EF4-FFF2-40B4-BE49-F238E27FC236}">
                <a16:creationId xmlns:a16="http://schemas.microsoft.com/office/drawing/2014/main" id="{A5D5C8BA-829A-0A5E-3F28-B40948E78E44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7064375" y="1652588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3" name="Retângulo 112">
            <a:extLst>
              <a:ext uri="{FF2B5EF4-FFF2-40B4-BE49-F238E27FC236}">
                <a16:creationId xmlns:a16="http://schemas.microsoft.com/office/drawing/2014/main" id="{978F1D9F-BAF1-7E2C-ADF4-FF4B04F49F97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4721225" y="1652588"/>
            <a:ext cx="250825" cy="187325"/>
          </a:xfrm>
          <a:prstGeom prst="rect">
            <a:avLst/>
          </a:prstGeom>
          <a:solidFill>
            <a:srgbClr val="A3C7A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7" name="Retângulo 116">
            <a:extLst>
              <a:ext uri="{FF2B5EF4-FFF2-40B4-BE49-F238E27FC236}">
                <a16:creationId xmlns:a16="http://schemas.microsoft.com/office/drawing/2014/main" id="{95053543-AC09-FB61-3523-26B8B4C3E812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6189663" y="1652588"/>
            <a:ext cx="250825" cy="187325"/>
          </a:xfrm>
          <a:prstGeom prst="rect">
            <a:avLst/>
          </a:prstGeom>
          <a:solidFill>
            <a:srgbClr val="CFB5F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5" name="Espaço Reservado para Texto 2">
            <a:extLst>
              <a:ext uri="{FF2B5EF4-FFF2-40B4-BE49-F238E27FC236}">
                <a16:creationId xmlns:a16="http://schemas.microsoft.com/office/drawing/2014/main" id="{0B937906-32B4-637C-7EDA-A7793B87CE3B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3832225" y="1663700"/>
            <a:ext cx="787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7B33CF-36E7-482D-A28E-973742F04E53}" type="datetime'''TV'''''''''' ''''''''AB''''''E''''''R''T''A'''''''">
              <a:rPr lang="pt-BR" altLang="en-US" sz="1400" smtClean="0"/>
              <a:pPr/>
              <a:t>TV ABERTA</a:t>
            </a:fld>
            <a:endParaRPr lang="pt-BR" sz="1400" dirty="0"/>
          </a:p>
        </p:txBody>
      </p:sp>
      <p:sp>
        <p:nvSpPr>
          <p:cNvPr id="118" name="Espaço Reservado para Texto 2">
            <a:extLst>
              <a:ext uri="{FF2B5EF4-FFF2-40B4-BE49-F238E27FC236}">
                <a16:creationId xmlns:a16="http://schemas.microsoft.com/office/drawing/2014/main" id="{17ADA51E-89CC-7AE1-B2D5-B28B107A53FA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366000" y="1663700"/>
            <a:ext cx="5635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4ADAAED-6D73-431B-AB78-44F19D97361C}" type="datetime'''''J''''O''''''R''''''''''''''''''''N''''''''''''AL'''''">
              <a:rPr lang="pt-BR" altLang="en-US" sz="1400" smtClean="0"/>
              <a:pPr/>
              <a:t>JORNAL</a:t>
            </a:fld>
            <a:endParaRPr lang="pt-BR" sz="1400" dirty="0"/>
          </a:p>
        </p:txBody>
      </p:sp>
      <p:sp>
        <p:nvSpPr>
          <p:cNvPr id="109" name="Espaço Reservado para Texto 2">
            <a:extLst>
              <a:ext uri="{FF2B5EF4-FFF2-40B4-BE49-F238E27FC236}">
                <a16:creationId xmlns:a16="http://schemas.microsoft.com/office/drawing/2014/main" id="{6FB2DBFE-F465-E927-CFC2-23FF1DF0CA8E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022850" y="1663700"/>
            <a:ext cx="10652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DA5247-89D7-4162-8830-D3D19F5F9DA1}" type="datetime'''''O''''''UT ''O''F'''''' ''H''''O''''''''''M''''''''''E'''">
              <a:rPr lang="pt-BR" altLang="en-US" sz="1400" smtClean="0"/>
              <a:pPr/>
              <a:t>OUT OF HOME</a:t>
            </a:fld>
            <a:endParaRPr lang="pt-BR" sz="1400" dirty="0"/>
          </a:p>
        </p:txBody>
      </p:sp>
      <p:sp>
        <p:nvSpPr>
          <p:cNvPr id="114" name="Espaço Reservado para Texto 2">
            <a:extLst>
              <a:ext uri="{FF2B5EF4-FFF2-40B4-BE49-F238E27FC236}">
                <a16:creationId xmlns:a16="http://schemas.microsoft.com/office/drawing/2014/main" id="{A7FDBBF4-F383-C788-1D81-DEBFC88F805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491288" y="1663700"/>
            <a:ext cx="471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091F9E6-E4AE-400C-BDA0-31C81D14FAAE}" type="datetime'''''''''''''''''RÁ''''DI''''''''''''''''''''''''''''''''O'''">
              <a:rPr lang="pt-BR" altLang="en-US" sz="1400" smtClean="0"/>
              <a:pPr/>
              <a:t>RÁDIO</a:t>
            </a:fld>
            <a:endParaRPr lang="pt-BR" sz="1400" dirty="0"/>
          </a:p>
        </p:txBody>
      </p:sp>
      <p:sp>
        <p:nvSpPr>
          <p:cNvPr id="1066" name="CaixaDeTexto 1065">
            <a:extLst>
              <a:ext uri="{FF2B5EF4-FFF2-40B4-BE49-F238E27FC236}">
                <a16:creationId xmlns:a16="http://schemas.microsoft.com/office/drawing/2014/main" id="{AB0C1589-1059-55BD-4816-A2B922C665EA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957BD"/>
                </a:solidFill>
              </a:rPr>
              <a:t>TV Aberta e “Out </a:t>
            </a:r>
            <a:r>
              <a:rPr lang="pt-BR" sz="2800" b="1" dirty="0" err="1">
                <a:solidFill>
                  <a:srgbClr val="3957BD"/>
                </a:solidFill>
              </a:rPr>
              <a:t>of</a:t>
            </a:r>
            <a:r>
              <a:rPr lang="pt-BR" sz="2800" b="1" dirty="0">
                <a:solidFill>
                  <a:srgbClr val="3957BD"/>
                </a:solidFill>
              </a:rPr>
              <a:t> Home”  representam 86% do nosso investimento em canais para veiculação da nossa campanha.</a:t>
            </a:r>
            <a:endParaRPr lang="pt-BR" sz="2800" baseline="30000" dirty="0">
              <a:solidFill>
                <a:srgbClr val="3957BD"/>
              </a:solidFill>
            </a:endParaRPr>
          </a:p>
        </p:txBody>
      </p:sp>
      <p:sp>
        <p:nvSpPr>
          <p:cNvPr id="1067" name="CaixaDeTexto 1066">
            <a:extLst>
              <a:ext uri="{FF2B5EF4-FFF2-40B4-BE49-F238E27FC236}">
                <a16:creationId xmlns:a16="http://schemas.microsoft.com/office/drawing/2014/main" id="{4D993922-245F-02FB-672E-CB5D8251055A}"/>
              </a:ext>
            </a:extLst>
          </p:cNvPr>
          <p:cNvSpPr txBox="1"/>
          <p:nvPr/>
        </p:nvSpPr>
        <p:spPr>
          <a:xfrm>
            <a:off x="368921" y="1642031"/>
            <a:ext cx="2758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i="1" dirty="0"/>
              <a:t>Investimento (em R$ k):</a:t>
            </a:r>
          </a:p>
        </p:txBody>
      </p:sp>
      <p:cxnSp>
        <p:nvCxnSpPr>
          <p:cNvPr id="1068" name="Conector reto 1067">
            <a:extLst>
              <a:ext uri="{FF2B5EF4-FFF2-40B4-BE49-F238E27FC236}">
                <a16:creationId xmlns:a16="http://schemas.microsoft.com/office/drawing/2014/main" id="{69FDBE53-BE10-8F85-4B2F-94F27F4AAF78}"/>
              </a:ext>
            </a:extLst>
          </p:cNvPr>
          <p:cNvCxnSpPr>
            <a:cxnSpLocks/>
          </p:cNvCxnSpPr>
          <p:nvPr/>
        </p:nvCxnSpPr>
        <p:spPr>
          <a:xfrm>
            <a:off x="426720" y="2011363"/>
            <a:ext cx="2214880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6214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9875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2" imgW="421" imgH="420" progId="TCLayout.ActiveDocument.1">
                  <p:embed/>
                </p:oleObj>
              </mc:Choice>
              <mc:Fallback>
                <p:oleObj name="Slide do think-cell" r:id="rId32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Chart 3">
            <a:extLst>
              <a:ext uri="{FF2B5EF4-FFF2-40B4-BE49-F238E27FC236}">
                <a16:creationId xmlns:a16="http://schemas.microsoft.com/office/drawing/2014/main" id="{829911B5-7E1E-F4FA-4E78-AA280BF1EB9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2830446"/>
              </p:ext>
            </p:extLst>
          </p:nvPr>
        </p:nvGraphicFramePr>
        <p:xfrm>
          <a:off x="1616075" y="2408238"/>
          <a:ext cx="9526588" cy="3616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296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6589713" y="3702050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19E958-D4AB-4DF7-9C58-F7AC46666459}" type="datetime'''''''''''''''''''''''3''''''''1''''''''''''''''''''%'">
              <a:rPr lang="pt-BR" altLang="en-US" sz="1200" smtClean="0"/>
              <a:pPr/>
              <a:t>31%</a:t>
            </a:fld>
            <a:endParaRPr lang="pt-BR" sz="1200" dirty="0"/>
          </a:p>
        </p:txBody>
      </p:sp>
      <p:sp>
        <p:nvSpPr>
          <p:cNvPr id="332" name="Espaço Reservado para Texto 2">
            <a:extLst>
              <a:ext uri="{FF2B5EF4-FFF2-40B4-BE49-F238E27FC236}">
                <a16:creationId xmlns:a16="http://schemas.microsoft.com/office/drawing/2014/main" id="{8D8E4CE1-D8E6-71FA-FEC6-BC0FE934ED5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700838" y="5400675"/>
            <a:ext cx="5238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8D5A277-E7C1-42D3-AF02-45ED52983920}" type="datetime'3''''''''''''''''''''''''''''''''.''''''''''1''''5''''8'''">
              <a:rPr lang="pt-BR" altLang="en-US" sz="1600" b="1" smtClean="0"/>
              <a:pPr/>
              <a:t>3.158</a:t>
            </a:fld>
            <a:endParaRPr lang="pt-BR" sz="1600" b="1" dirty="0"/>
          </a:p>
        </p:txBody>
      </p:sp>
      <p:sp>
        <p:nvSpPr>
          <p:cNvPr id="171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77888" y="2825750"/>
            <a:ext cx="703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326043D-6DA1-45A0-909D-D7EE15B98BD2}" type="datetime'''''Sã''''''''''o ''P''a''''''''''''''u''''''lo'">
              <a:rPr lang="pt-BR" altLang="en-US" sz="1400" smtClean="0"/>
              <a:pPr/>
              <a:t>São Paulo</a:t>
            </a:fld>
            <a:endParaRPr lang="pt-BR" sz="1400" dirty="0"/>
          </a:p>
        </p:txBody>
      </p:sp>
      <p:sp>
        <p:nvSpPr>
          <p:cNvPr id="293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0210800" y="2838450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48FF20-BA79-4AE0-8D73-6A282BA6B8C1}" type="datetime'''''''''''''''''''''''''''''''''''''''''1''''''4''''''''''''%'">
              <a:rPr lang="pt-BR" altLang="en-US" sz="1200" smtClean="0"/>
              <a:pPr/>
              <a:t>14%</a:t>
            </a:fld>
            <a:endParaRPr lang="pt-BR" sz="1200" dirty="0"/>
          </a:p>
        </p:txBody>
      </p:sp>
      <p:sp>
        <p:nvSpPr>
          <p:cNvPr id="292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054475" y="2838450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1F2EDA-D02C-48ED-B398-D8D5B11F79CA}" type="datetime'''''''''''''''''''''5''''''''''''''''''''''''4''''''''''''%'''">
              <a:rPr lang="pt-BR" altLang="en-US" sz="1200" smtClean="0">
                <a:solidFill>
                  <a:schemeClr val="bg1"/>
                </a:solidFill>
              </a:rPr>
              <a:pPr/>
              <a:t>54%</a:t>
            </a:fld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295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513138" y="3702050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A8B702-AC35-480A-BF5B-25AD65ED427A}" type="datetime'5''''''''6''''%'''''''''''''">
              <a:rPr lang="pt-BR" altLang="en-US" sz="1200" smtClean="0">
                <a:solidFill>
                  <a:schemeClr val="bg1"/>
                </a:solidFill>
              </a:rPr>
              <a:pPr/>
              <a:t>56%</a:t>
            </a:fld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173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68325" y="3689350"/>
            <a:ext cx="10128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D029BC0-6E44-46C6-B3C5-C6A72425EBCC}" type="datetime'''''R''io'' d''''''''''''e'' J''''a''''''n''''''''ei''r''o'''">
              <a:rPr lang="pt-BR" altLang="en-US" sz="1400" smtClean="0"/>
              <a:pPr/>
              <a:t>Rio de Janeiro</a:t>
            </a:fld>
            <a:endParaRPr lang="pt-BR" sz="1400" dirty="0"/>
          </a:p>
        </p:txBody>
      </p:sp>
      <p:sp>
        <p:nvSpPr>
          <p:cNvPr id="294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054975" y="2838450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FF41D3-4949-40A2-8E9E-8F01FCE14B85}" type="datetime'''''3''''2''''''''''''''''''''%'''''''''''''''''''''''''''">
              <a:rPr lang="pt-BR" altLang="en-US" sz="1200" smtClean="0"/>
              <a:pPr/>
              <a:t>32%</a:t>
            </a:fld>
            <a:endParaRPr lang="pt-BR" sz="1200" dirty="0"/>
          </a:p>
        </p:txBody>
      </p:sp>
      <p:sp>
        <p:nvSpPr>
          <p:cNvPr id="282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104188" y="3702050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CCA052-4442-4BB9-99A3-DCB157099F8A}" type="datetime'''''''''''''''''''1''''''''''''''''''''''''''''''''''''2''%'''">
              <a:rPr lang="pt-BR" altLang="en-US" sz="1200" smtClean="0"/>
              <a:pPr/>
              <a:t>12%</a:t>
            </a:fld>
            <a:endParaRPr lang="pt-BR" sz="1200" dirty="0"/>
          </a:p>
        </p:txBody>
      </p:sp>
      <p:sp>
        <p:nvSpPr>
          <p:cNvPr id="187" name="Espaço Reservado para Texto 2">
            <a:extLst>
              <a:ext uri="{FF2B5EF4-FFF2-40B4-BE49-F238E27FC236}">
                <a16:creationId xmlns:a16="http://schemas.microsoft.com/office/drawing/2014/main" id="{64365653-821F-941F-93F5-4B879208D90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87363" y="5414963"/>
            <a:ext cx="10937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C32203D-F40C-4378-8184-4CD460ECE9C2}" type="datetime'''O''''''u''''''''tr''''a''s ''''''''C''''id''a''de''''''s'">
              <a:rPr lang="pt-BR" altLang="en-US" sz="1400" smtClean="0"/>
              <a:pPr/>
              <a:t>Outras Cidades</a:t>
            </a:fld>
            <a:endParaRPr lang="pt-BR" sz="1400" dirty="0"/>
          </a:p>
        </p:txBody>
      </p:sp>
      <p:sp>
        <p:nvSpPr>
          <p:cNvPr id="298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446338" y="4564063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86C34F-35BE-4702-BFCD-F1AE641286C2}" type="datetime'''''''''''''''''''''''''6''''''''''''''''1''''''''''%'''">
              <a:rPr lang="pt-BR" altLang="en-US" sz="1200" smtClean="0">
                <a:solidFill>
                  <a:schemeClr val="bg1"/>
                </a:solidFill>
              </a:rPr>
              <a:pPr/>
              <a:t>61%</a:t>
            </a:fld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299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295775" y="4564063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78586D-C9B3-423B-A14D-AC24A01BA69B}" type="datetime'''''''''''''''''''1''''''1''''''%'''''''''''''''''''''''">
              <a:rPr lang="pt-BR" altLang="en-US" sz="1200" smtClean="0">
                <a:effectLst/>
              </a:rPr>
              <a:pPr/>
              <a:t>11%</a:t>
            </a:fld>
            <a:endParaRPr lang="pt-BR" sz="1200" dirty="0"/>
          </a:p>
        </p:txBody>
      </p:sp>
      <p:sp>
        <p:nvSpPr>
          <p:cNvPr id="271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740150" y="4564063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2EBF02-A09A-49E8-9D83-BB593C034275}" type="datetime'''2''''''''''''''7''''''''''%'''''''''''''''''''''''''''''">
              <a:rPr lang="pt-BR" altLang="en-US" sz="1200" smtClean="0"/>
              <a:pPr/>
              <a:t>27%</a:t>
            </a:fld>
            <a:endParaRPr lang="pt-BR" sz="1200" dirty="0"/>
          </a:p>
        </p:txBody>
      </p:sp>
      <p:sp>
        <p:nvSpPr>
          <p:cNvPr id="333" name="Espaço Reservado para Texto 2">
            <a:extLst>
              <a:ext uri="{FF2B5EF4-FFF2-40B4-BE49-F238E27FC236}">
                <a16:creationId xmlns:a16="http://schemas.microsoft.com/office/drawing/2014/main" id="{50E2AC48-4FC5-A19F-A352-573557A0BD8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968875" y="5427663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7A57AE6-C52B-4D06-B497-35DDC3526155}" type="datetime'''''''''''''''''''''''''''''''''2''8%'''''''''''''''''">
              <a:rPr lang="pt-BR" altLang="en-US" sz="1200" smtClean="0"/>
              <a:pPr/>
              <a:t>28%</a:t>
            </a:fld>
            <a:endParaRPr lang="pt-BR" sz="1200" dirty="0"/>
          </a:p>
        </p:txBody>
      </p:sp>
      <p:sp>
        <p:nvSpPr>
          <p:cNvPr id="174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79450" y="4551363"/>
            <a:ext cx="9017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8F39AC5-C070-46E3-B628-21886E493822}" type="datetime'''Po''''''r''''to A''''''l''''''''''egr''''''''e'''''''''">
              <a:rPr lang="pt-BR" altLang="en-US" sz="1400" smtClean="0"/>
              <a:pPr/>
              <a:t>Porto Alegre</a:t>
            </a:fld>
            <a:endParaRPr lang="pt-BR" sz="1400" dirty="0"/>
          </a:p>
        </p:txBody>
      </p:sp>
      <p:sp>
        <p:nvSpPr>
          <p:cNvPr id="335" name="Espaço Reservado para Texto 2">
            <a:extLst>
              <a:ext uri="{FF2B5EF4-FFF2-40B4-BE49-F238E27FC236}">
                <a16:creationId xmlns:a16="http://schemas.microsoft.com/office/drawing/2014/main" id="{2F4331B2-CBDE-8AAB-5833-5C0BA04CEDA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909888" y="5427663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00B61B-BF75-4BEE-89B0-5675C04A83B9}" type="datetime'''''''''''5''5''''''''''''%'''''''''">
              <a:rPr lang="pt-BR" altLang="en-US" sz="1200" smtClean="0">
                <a:solidFill>
                  <a:schemeClr val="bg1"/>
                </a:solidFill>
              </a:rPr>
              <a:pPr/>
              <a:t>55%</a:t>
            </a:fld>
            <a:endParaRPr lang="pt-BR" sz="1200" dirty="0">
              <a:solidFill>
                <a:schemeClr val="bg1"/>
              </a:solidFill>
            </a:endParaRPr>
          </a:p>
        </p:txBody>
      </p:sp>
      <p:sp>
        <p:nvSpPr>
          <p:cNvPr id="334" name="Espaço Reservado para Texto 2">
            <a:extLst>
              <a:ext uri="{FF2B5EF4-FFF2-40B4-BE49-F238E27FC236}">
                <a16:creationId xmlns:a16="http://schemas.microsoft.com/office/drawing/2014/main" id="{08C6241F-722E-6682-BB93-0739FF90D84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083300" y="5427663"/>
            <a:ext cx="309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69BC43F-961C-4C29-8AE5-EC03C9B6B368}" type="datetime'''''''1''''''''''''''''''7%'''''''''''''''''">
              <a:rPr lang="pt-BR" altLang="en-US" sz="1200" smtClean="0"/>
              <a:pPr/>
              <a:t>17%</a:t>
            </a:fld>
            <a:endParaRPr lang="pt-BR" sz="1200" dirty="0"/>
          </a:p>
        </p:txBody>
      </p:sp>
      <p:sp>
        <p:nvSpPr>
          <p:cNvPr id="178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1085513" y="2811463"/>
            <a:ext cx="5238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4FC15E5-FC60-4866-9DF6-DB846C2BCAD7}" type="datetime'5''''''''''''''''''''''''''.''9''''''4''''''0'''''">
              <a:rPr lang="pt-BR" altLang="en-US" sz="1600" b="1" smtClean="0"/>
              <a:pPr/>
              <a:t>5.940</a:t>
            </a:fld>
            <a:endParaRPr lang="pt-BR" sz="1600" b="1" dirty="0"/>
          </a:p>
        </p:txBody>
      </p:sp>
      <p:sp>
        <p:nvSpPr>
          <p:cNvPr id="179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799513" y="3675063"/>
            <a:ext cx="5238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A9AA8C6-49E9-4159-8E15-FF5867B2C3F0}" type="datetime'''''''4''''.''4''''''''''''''8''''''9'''''''''''''''''''''''">
              <a:rPr lang="pt-BR" altLang="en-US" sz="1600" b="1" smtClean="0"/>
              <a:pPr/>
              <a:t>4.489</a:t>
            </a:fld>
            <a:endParaRPr lang="pt-BR" sz="1600" b="1" dirty="0"/>
          </a:p>
        </p:txBody>
      </p:sp>
      <p:sp>
        <p:nvSpPr>
          <p:cNvPr id="180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665663" y="4537075"/>
            <a:ext cx="5238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183B1F7-8CF0-4E60-8141-9FB85145056A}" type="datetime'''''1.''''8''''''''''''''''''''''''''''''''''''''6''7'''">
              <a:rPr lang="pt-BR" altLang="en-US" sz="1600" b="1" smtClean="0"/>
              <a:pPr/>
              <a:t>1.867</a:t>
            </a:fld>
            <a:endParaRPr lang="pt-BR" sz="1600" b="1" dirty="0"/>
          </a:p>
        </p:txBody>
      </p:sp>
      <p:sp>
        <p:nvSpPr>
          <p:cNvPr id="318" name="Retângulo 317">
            <a:extLst>
              <a:ext uri="{FF2B5EF4-FFF2-40B4-BE49-F238E27FC236}">
                <a16:creationId xmlns:a16="http://schemas.microsoft.com/office/drawing/2014/main" id="{1B5CC82A-EDAA-D17E-423E-2AAF635CB2DC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6205538" y="1752600"/>
            <a:ext cx="250825" cy="187325"/>
          </a:xfrm>
          <a:prstGeom prst="rect">
            <a:avLst/>
          </a:prstGeom>
          <a:solidFill>
            <a:srgbClr val="CFB5F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19" name="Retângulo 318">
            <a:extLst>
              <a:ext uri="{FF2B5EF4-FFF2-40B4-BE49-F238E27FC236}">
                <a16:creationId xmlns:a16="http://schemas.microsoft.com/office/drawing/2014/main" id="{EF6B9462-9329-8348-2BF4-15E74F30A6BC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3546475" y="1752600"/>
            <a:ext cx="250825" cy="187325"/>
          </a:xfrm>
          <a:prstGeom prst="rect">
            <a:avLst/>
          </a:prstGeom>
          <a:solidFill>
            <a:srgbClr val="46679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17" name="Retângulo 316">
            <a:extLst>
              <a:ext uri="{FF2B5EF4-FFF2-40B4-BE49-F238E27FC236}">
                <a16:creationId xmlns:a16="http://schemas.microsoft.com/office/drawing/2014/main" id="{75FC963F-2721-38FC-635D-0144263F873E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4737100" y="1752600"/>
            <a:ext cx="250825" cy="187325"/>
          </a:xfrm>
          <a:prstGeom prst="rect">
            <a:avLst/>
          </a:prstGeom>
          <a:solidFill>
            <a:srgbClr val="A3C7A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0" name="Retângulo 319">
            <a:extLst>
              <a:ext uri="{FF2B5EF4-FFF2-40B4-BE49-F238E27FC236}">
                <a16:creationId xmlns:a16="http://schemas.microsoft.com/office/drawing/2014/main" id="{62F5C69B-972C-13B2-6619-0B31460C2882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7080250" y="1752600"/>
            <a:ext cx="250825" cy="187325"/>
          </a:xfrm>
          <a:prstGeom prst="rect">
            <a:avLst/>
          </a:prstGeom>
          <a:solidFill>
            <a:srgbClr val="F2C037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3" name="Espaço Reservado para Texto 2">
            <a:extLst>
              <a:ext uri="{FF2B5EF4-FFF2-40B4-BE49-F238E27FC236}">
                <a16:creationId xmlns:a16="http://schemas.microsoft.com/office/drawing/2014/main" id="{DB93F222-2305-CC30-3E32-84B524EF9B09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381875" y="1763713"/>
            <a:ext cx="5635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0551D02-F4AA-4CE9-8CEE-F5536BBB846C}" type="datetime'''''''''''''''''''''J''''''OR''''''''''''N''''''A''''L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JORNAL</a:t>
            </a:fld>
            <a:endParaRPr lang="pt-BR" sz="1400" dirty="0"/>
          </a:p>
        </p:txBody>
      </p:sp>
      <p:sp>
        <p:nvSpPr>
          <p:cNvPr id="175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848100" y="1763713"/>
            <a:ext cx="787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702AB0A-9A8C-4CA8-85BD-E808954F3593}" type="datetime'''''''''''''''''''''TV AB''''E''''R''''''''''''T''''''''A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V ABERTA</a:t>
            </a:fld>
            <a:endParaRPr lang="pt-BR" sz="1400" dirty="0"/>
          </a:p>
        </p:txBody>
      </p:sp>
      <p:sp>
        <p:nvSpPr>
          <p:cNvPr id="177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038725" y="1763713"/>
            <a:ext cx="10652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FBA6785-2171-4CC1-A560-BE8AAB304103}" type="datetime'''OUT'''''' ''''''''O''''''F'''' H''O''''M''E''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UT OF HOME</a:t>
            </a:fld>
            <a:endParaRPr lang="pt-BR" sz="1400" dirty="0"/>
          </a:p>
        </p:txBody>
      </p:sp>
      <p:sp>
        <p:nvSpPr>
          <p:cNvPr id="176" name="Espaço Reservado para Texto 2">
            <a:extLst>
              <a:ext uri="{FF2B5EF4-FFF2-40B4-BE49-F238E27FC236}">
                <a16:creationId xmlns:a16="http://schemas.microsoft.com/office/drawing/2014/main" id="{1F39CE57-1E89-69D7-2648-D8252EE8CDD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507163" y="1763713"/>
            <a:ext cx="471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F25CB3B-4494-4037-943B-DB6491DF5B08}" type="datetime'''''''''''''''''R''''Á''''D''''''''''I''''''''''O'''''''">
              <a:rPr lang="pt-BR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ÁDIO</a:t>
            </a:fld>
            <a:endParaRPr lang="pt-BR" sz="1400" dirty="0"/>
          </a:p>
        </p:txBody>
      </p:sp>
      <p:sp>
        <p:nvSpPr>
          <p:cNvPr id="84" name="CaixaDeTexto 83">
            <a:extLst>
              <a:ext uri="{FF2B5EF4-FFF2-40B4-BE49-F238E27FC236}">
                <a16:creationId xmlns:a16="http://schemas.microsoft.com/office/drawing/2014/main" id="{3CE662F3-51A4-F9DB-D7CA-B4298C71DBCB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957BD"/>
                </a:solidFill>
              </a:rPr>
              <a:t>As cidades de São Paulo, Rio de Janeiro e Porto Alegre totalizam 80% do investimento em marketing desta campanha.</a:t>
            </a:r>
            <a:endParaRPr lang="pt-BR" sz="2800" baseline="30000" dirty="0">
              <a:solidFill>
                <a:srgbClr val="3957BD"/>
              </a:solidFill>
            </a:endParaRPr>
          </a:p>
        </p:txBody>
      </p:sp>
      <p:sp>
        <p:nvSpPr>
          <p:cNvPr id="85" name="CaixaDeTexto 84">
            <a:extLst>
              <a:ext uri="{FF2B5EF4-FFF2-40B4-BE49-F238E27FC236}">
                <a16:creationId xmlns:a16="http://schemas.microsoft.com/office/drawing/2014/main" id="{34226B40-5C51-AFE5-0ECF-D5DB9110CBB7}"/>
              </a:ext>
            </a:extLst>
          </p:cNvPr>
          <p:cNvSpPr txBox="1"/>
          <p:nvPr/>
        </p:nvSpPr>
        <p:spPr>
          <a:xfrm>
            <a:off x="286990" y="5941497"/>
            <a:ext cx="103168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“</a:t>
            </a:r>
            <a:r>
              <a:rPr lang="pt-BR" altLang="en-US" sz="1800" dirty="0"/>
              <a:t>Outras Cidades”: composta por Curitiba, Brasília, Belo Horizonte, Campinas, Goiânia e Florianópolis.</a:t>
            </a:r>
            <a:r>
              <a:rPr lang="pt-BR" b="1" dirty="0"/>
              <a:t> </a:t>
            </a:r>
          </a:p>
        </p:txBody>
      </p:sp>
      <p:sp>
        <p:nvSpPr>
          <p:cNvPr id="87" name="CaixaDeTexto 86">
            <a:extLst>
              <a:ext uri="{FF2B5EF4-FFF2-40B4-BE49-F238E27FC236}">
                <a16:creationId xmlns:a16="http://schemas.microsoft.com/office/drawing/2014/main" id="{95983569-DF73-54A2-81A0-412FBA3C2314}"/>
              </a:ext>
            </a:extLst>
          </p:cNvPr>
          <p:cNvSpPr txBox="1"/>
          <p:nvPr/>
        </p:nvSpPr>
        <p:spPr>
          <a:xfrm>
            <a:off x="368921" y="1642031"/>
            <a:ext cx="2758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i="1" dirty="0"/>
              <a:t>Investimento (em R$ k):</a:t>
            </a:r>
          </a:p>
        </p:txBody>
      </p:sp>
      <p:cxnSp>
        <p:nvCxnSpPr>
          <p:cNvPr id="88" name="Conector reto 87">
            <a:extLst>
              <a:ext uri="{FF2B5EF4-FFF2-40B4-BE49-F238E27FC236}">
                <a16:creationId xmlns:a16="http://schemas.microsoft.com/office/drawing/2014/main" id="{4FFA6C9F-921E-94C8-37CE-DE19BCD45787}"/>
              </a:ext>
            </a:extLst>
          </p:cNvPr>
          <p:cNvCxnSpPr>
            <a:cxnSpLocks/>
          </p:cNvCxnSpPr>
          <p:nvPr/>
        </p:nvCxnSpPr>
        <p:spPr>
          <a:xfrm>
            <a:off x="426720" y="2011363"/>
            <a:ext cx="2214880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71359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F63E6F76-47BD-DC24-95D9-68761A33B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732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421" imgH="420" progId="TCLayout.ActiveDocument.1">
                  <p:embed/>
                </p:oleObj>
              </mc:Choice>
              <mc:Fallback>
                <p:oleObj name="Slide do think-cell" r:id="rId3" imgW="421" imgH="42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F63E6F76-47BD-DC24-95D9-68761A33B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CaixaDeTexto 83">
            <a:extLst>
              <a:ext uri="{FF2B5EF4-FFF2-40B4-BE49-F238E27FC236}">
                <a16:creationId xmlns:a16="http://schemas.microsoft.com/office/drawing/2014/main" id="{3CE662F3-51A4-F9DB-D7CA-B4298C71DBCB}"/>
              </a:ext>
            </a:extLst>
          </p:cNvPr>
          <p:cNvSpPr txBox="1"/>
          <p:nvPr/>
        </p:nvSpPr>
        <p:spPr>
          <a:xfrm>
            <a:off x="334963" y="296863"/>
            <a:ext cx="115220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3957BD"/>
                </a:solidFill>
              </a:rPr>
              <a:t>As cidades de Campinas, Porto Alegre, Goiânia e Brasília tiveram o maior </a:t>
            </a:r>
          </a:p>
          <a:p>
            <a:r>
              <a:rPr lang="pt-BR" sz="2800" b="1" dirty="0">
                <a:solidFill>
                  <a:srgbClr val="3957BD"/>
                </a:solidFill>
              </a:rPr>
              <a:t>custo para aquisição de lead.</a:t>
            </a:r>
            <a:endParaRPr lang="pt-BR" sz="2800" baseline="30000" dirty="0">
              <a:solidFill>
                <a:srgbClr val="3957BD"/>
              </a:solidFill>
            </a:endParaRPr>
          </a:p>
        </p:txBody>
      </p:sp>
      <p:sp>
        <p:nvSpPr>
          <p:cNvPr id="85" name="CaixaDeTexto 84">
            <a:extLst>
              <a:ext uri="{FF2B5EF4-FFF2-40B4-BE49-F238E27FC236}">
                <a16:creationId xmlns:a16="http://schemas.microsoft.com/office/drawing/2014/main" id="{34226B40-5C51-AFE5-0ECF-D5DB9110CBB7}"/>
              </a:ext>
            </a:extLst>
          </p:cNvPr>
          <p:cNvSpPr txBox="1"/>
          <p:nvPr/>
        </p:nvSpPr>
        <p:spPr>
          <a:xfrm>
            <a:off x="286990" y="5941497"/>
            <a:ext cx="112519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Obs.: </a:t>
            </a:r>
            <a:r>
              <a:rPr lang="pt-BR" altLang="en-US" sz="1800" dirty="0"/>
              <a:t>Leads Gerados* foram atr</a:t>
            </a:r>
            <a:r>
              <a:rPr lang="pt-BR" altLang="en-US" dirty="0"/>
              <a:t>ibuídos desde o 1</a:t>
            </a:r>
            <a:r>
              <a:rPr lang="pt-BR" altLang="en-US" baseline="30000" dirty="0"/>
              <a:t>0</a:t>
            </a:r>
            <a:r>
              <a:rPr lang="pt-BR" altLang="en-US" dirty="0"/>
              <a:t> dia da campanha até 7</a:t>
            </a:r>
            <a:r>
              <a:rPr lang="pt-BR" altLang="en-US" baseline="30000" dirty="0"/>
              <a:t>0</a:t>
            </a:r>
            <a:r>
              <a:rPr lang="pt-BR" altLang="en-US" dirty="0"/>
              <a:t> dia após a última veiculação da campanha.</a:t>
            </a:r>
            <a:endParaRPr lang="pt-BR" b="1" dirty="0"/>
          </a:p>
        </p:txBody>
      </p:sp>
      <p:graphicFrame>
        <p:nvGraphicFramePr>
          <p:cNvPr id="54" name="Table 24">
            <a:extLst>
              <a:ext uri="{FF2B5EF4-FFF2-40B4-BE49-F238E27FC236}">
                <a16:creationId xmlns:a16="http://schemas.microsoft.com/office/drawing/2014/main" id="{879A9FE7-8E1C-8B7E-1EAB-CA9FDBD415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7655787"/>
              </p:ext>
            </p:extLst>
          </p:nvPr>
        </p:nvGraphicFramePr>
        <p:xfrm>
          <a:off x="381457" y="1341978"/>
          <a:ext cx="10791343" cy="45995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3827">
                  <a:extLst>
                    <a:ext uri="{9D8B030D-6E8A-4147-A177-3AD203B41FA5}">
                      <a16:colId xmlns:a16="http://schemas.microsoft.com/office/drawing/2014/main" val="2333307858"/>
                    </a:ext>
                  </a:extLst>
                </a:gridCol>
                <a:gridCol w="2036723">
                  <a:extLst>
                    <a:ext uri="{9D8B030D-6E8A-4147-A177-3AD203B41FA5}">
                      <a16:colId xmlns:a16="http://schemas.microsoft.com/office/drawing/2014/main" val="2999917168"/>
                    </a:ext>
                  </a:extLst>
                </a:gridCol>
                <a:gridCol w="2109790">
                  <a:extLst>
                    <a:ext uri="{9D8B030D-6E8A-4147-A177-3AD203B41FA5}">
                      <a16:colId xmlns:a16="http://schemas.microsoft.com/office/drawing/2014/main" val="3040159046"/>
                    </a:ext>
                  </a:extLst>
                </a:gridCol>
                <a:gridCol w="2061274">
                  <a:extLst>
                    <a:ext uri="{9D8B030D-6E8A-4147-A177-3AD203B41FA5}">
                      <a16:colId xmlns:a16="http://schemas.microsoft.com/office/drawing/2014/main" val="445082784"/>
                    </a:ext>
                  </a:extLst>
                </a:gridCol>
                <a:gridCol w="2679729">
                  <a:extLst>
                    <a:ext uri="{9D8B030D-6E8A-4147-A177-3AD203B41FA5}">
                      <a16:colId xmlns:a16="http://schemas.microsoft.com/office/drawing/2014/main" val="260606509"/>
                    </a:ext>
                  </a:extLst>
                </a:gridCol>
              </a:tblGrid>
              <a:tr h="442266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idade</a:t>
                      </a:r>
                    </a:p>
                  </a:txBody>
                  <a:tcPr marL="9525" marR="9525" marT="9525" marB="0" anchor="b">
                    <a:solidFill>
                      <a:srgbClr val="3957B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empo Campanha (</a:t>
                      </a:r>
                      <a:r>
                        <a:rPr lang="pt-BR" sz="2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as</a:t>
                      </a:r>
                      <a:r>
                        <a:rPr lang="pt-BR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pt-BR" sz="2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rridos</a:t>
                      </a:r>
                      <a:r>
                        <a:rPr lang="pt-BR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9525" marR="9525" marT="9525" marB="0" anchor="b">
                    <a:solidFill>
                      <a:srgbClr val="3957B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nvestimento (R$ k)</a:t>
                      </a:r>
                    </a:p>
                  </a:txBody>
                  <a:tcPr marL="9525" marR="9525" marT="9525" marB="0" anchor="b">
                    <a:solidFill>
                      <a:srgbClr val="3957B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Leads Gerados* (k)</a:t>
                      </a:r>
                    </a:p>
                  </a:txBody>
                  <a:tcPr marL="9525" marR="9525" marT="9525" marB="0" anchor="b">
                    <a:solidFill>
                      <a:srgbClr val="3957B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usto Por Lead (R$)</a:t>
                      </a:r>
                    </a:p>
                  </a:txBody>
                  <a:tcPr marL="9525" marR="9525" marT="9525" marB="0" anchor="b">
                    <a:solidFill>
                      <a:srgbClr val="3957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095143"/>
                  </a:ext>
                </a:extLst>
              </a:tr>
              <a:tr h="442266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ão Paul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94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3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5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46696055"/>
                  </a:ext>
                </a:extLst>
              </a:tr>
              <a:tr h="442266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io de Janeir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48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,6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84256987"/>
                  </a:ext>
                </a:extLst>
              </a:tr>
              <a:tr h="442266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rto Alegr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86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,6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02125773"/>
                  </a:ext>
                </a:extLst>
              </a:tr>
              <a:tr h="442266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uritib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,1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43899256"/>
                  </a:ext>
                </a:extLst>
              </a:tr>
              <a:tr h="442266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asíli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,5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10928282"/>
                  </a:ext>
                </a:extLst>
              </a:tr>
              <a:tr h="442266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elo Horizont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,1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58977946"/>
                  </a:ext>
                </a:extLst>
              </a:tr>
              <a:tr h="442266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mpina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,4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7005202"/>
                  </a:ext>
                </a:extLst>
              </a:tr>
              <a:tr h="442266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oiâni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,6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24880750"/>
                  </a:ext>
                </a:extLst>
              </a:tr>
              <a:tr h="442266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lorianópolis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1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60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81688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87697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0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3&quot;&gt;&lt;elem m_fUsage=&quot;1.63825858318584338669E+00&quot;&gt;&lt;m_msothmcolidx val=&quot;0&quot;/&gt;&lt;m_rgb r=&quot;F2&quot; g=&quot;C0&quot; b=&quot;37&quot;/&gt;&lt;/elem&gt;&lt;elem m_fUsage=&quot;1.52407017701462610404E+00&quot;&gt;&lt;m_msothmcolidx val=&quot;0&quot;/&gt;&lt;m_rgb r=&quot;A3&quot; g=&quot;C7&quot; b=&quot;A1&quot;/&gt;&lt;/elem&gt;&lt;elem m_fUsage=&quot;1.31195746726486772715E+00&quot;&gt;&lt;m_msothmcolidx val=&quot;0&quot;/&gt;&lt;m_rgb r=&quot;CF&quot; g=&quot;B5&quot; b=&quot;FF&quot;/&gt;&lt;/elem&gt;&lt;elem m_fUsage=&quot;9.68827554281014746707E-01&quot;&gt;&lt;m_msothmcolidx val=&quot;0&quot;/&gt;&lt;m_rgb r=&quot;7C&quot; g=&quot;BB&quot; b=&quot;CE&quot;/&gt;&lt;/elem&gt;&lt;elem m_fUsage=&quot;8.84097624642697588193E-01&quot;&gt;&lt;m_msothmcolidx val=&quot;0&quot;/&gt;&lt;m_rgb r=&quot;46&quot; g=&quot;67&quot; b=&quot;95&quot;/&gt;&lt;/elem&gt;&lt;elem m_fUsage=&quot;8.32569554294541047668E-01&quot;&gt;&lt;m_msothmcolidx val=&quot;0&quot;/&gt;&lt;m_rgb r=&quot;39&quot; g=&quot;57&quot; b=&quot;BD&quot;/&gt;&lt;/elem&gt;&lt;elem m_fUsage=&quot;8.19257924549610216935E-01&quot;&gt;&lt;m_msothmcolidx val=&quot;0&quot;/&gt;&lt;m_rgb r=&quot;00&quot; g=&quot;96&quot; b=&quot;4F&quot;/&gt;&lt;/elem&gt;&lt;elem m_fUsage=&quot;6.84869513767525361914E-01&quot;&gt;&lt;m_msothmcolidx val=&quot;0&quot;/&gt;&lt;m_rgb r=&quot;63&quot; g=&quot;37&quot; b=&quot;58&quot;/&gt;&lt;/elem&gt;&lt;elem m_fUsage=&quot;6.59107992762913319496E-01&quot;&gt;&lt;m_msothmcolidx val=&quot;0&quot;/&gt;&lt;m_rgb r=&quot;E1&quot; g=&quot;A7&quot; b=&quot;AF&quot;/&gt;&lt;/elem&gt;&lt;elem m_fUsage=&quot;3.54675087192795779334E-01&quot;&gt;&lt;m_msothmcolidx val=&quot;0&quot;/&gt;&lt;m_rgb r=&quot;11&quot; g=&quot;7F&quot; b=&quot;3F&quot;/&gt;&lt;/elem&gt;&lt;elem m_fUsage=&quot;1.85302018885184188735E-01&quot;&gt;&lt;m_msothmcolidx val=&quot;0&quot;/&gt;&lt;m_rgb r=&quot;EA&quot; g=&quot;4E&quot; b=&quot;58&quot;/&gt;&lt;/elem&gt;&lt;elem m_fUsage=&quot;3.33036632092450143872E-02&quot;&gt;&lt;m_msothmcolidx val=&quot;0&quot;/&gt;&lt;m_rgb r=&quot;C6&quot; g=&quot;47&quot; b=&quot;29&quot;/&gt;&lt;/elem&gt;&lt;elem m_fUsage=&quot;1.64232032682606748919E-02&quot;&gt;&lt;m_msothmcolidx val=&quot;0&quot;/&gt;&lt;m_rgb r=&quot;46&quot; g=&quot;77&quot; b=&quot;7A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WBtCOeq8MzxudKBtyEk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WAXW149NfRpu1jTgNYl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a40.ZhqZATVTxKga9mF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rsgRDCjHn7CKXOxrJOH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HpEAlkt7jiG7pWukXuB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UdF.bk0CxIFSYQloDNl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STaOH14YV8cmhveiSc0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VlkdvID6YP6fspBqgSl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qPgmvKT2rbrZuPToB5v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KlkEAIx4FmXDg0WQTIx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FiR.Rn3T.GVBZ1wXfB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qtirOR.kbXnZ24MRvrE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hK1QGhNd_eu.7Lxfnhn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Z9CSsp1HOG0OgkVtbol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FRX0m5lox7VcJ2VivYU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PdiS7XqUpPvJDFL6gSM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KuATWQ4Uio4cuwOzPoT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Xo6b613Ceil57PMIG_B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Ck.HeSQ8JufCaCJgook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trSsVaErv9tvRmhcAx1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CGkQuvmNMetiNIhMdai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_bmrAfa3MpmPTS0Bwix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bPw2mjM2LLeVT3d39x7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.vmuLVh5uOgqm7NWP2eA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ujPGTZYr4zeauB3HGcs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0Z0VjvVVHlkWSsQ.tE2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hp9EC934NBUaL4k_eYD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FVwLZBeA1No7_j9Td1E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OEQAtpWOAYGFRCIvRB0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jEW9W33Ju3uyiGXN1ea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_ujo8ZMoR7dzbeftmr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lQ7oK_2Cw5Pj6S8au3H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3e3t_7KSMbKkglaqJUE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ux8kPfRm66oEX3FhvSx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hNzR90.wcbfVzrjZMdh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3FG2PQ2h4WOl71Kjiic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CbvReJkD3BqnAEq6kXt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M6MXMgrgFJ2dNfEJmV5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tQn3jcD0w9C.WLrOl72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URIxuUaShAcxIeogJ7M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ktcqfdw9PsYpLwVAexi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bdD9nzc9M41HT_.lb9e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mpDNup.eNI526uWE_D3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SXueuq23hAzw7wcvIT1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J5CqnYf3WKElApBSR.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nT4feQGWwUm.Q2g.BjI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hOTNmYxispoqw4qgDWi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dBlwfyu1KK8gA2FUbcf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xcF7yOsswGbmD2hcd5_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.EoW2bWs9ujtFxlt5H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ilpuFuU4C2q7GLsUWZT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snlo0vxRsgxKioyVjOq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LX4RA3PHy33QB7RxV9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EF5KbXD6WBGNnNQ.75s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cVdDpATT9LL3LWkdF76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XvSuGsuI_Ah_B9FZwtU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3hhP3KbsmTefVt8xzNH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cT3s1PmQeEvNZWTnDp2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5fxWUWi2Sz8JseWfnxP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llOeJtcOcPpOHn5dgO6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dgouQGnoXERCknqfBKf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80mRTdzDP5.a1h89Etj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LsFSvPaC5YPVPO9lH5S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oP91ijwd73wyv4hl_G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R2iiSYLzjMNJzihjFdB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fH2GIpDLmOklh_XB1S0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XUUIUPkXfDmd.KBXxGn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6coIwxNB6ztgPxnKYGn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96Q18e2OvNdv2HFpsV2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Z3hdoQBFrWg.9vYZznS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i5XpRLqPiDxlsCLYUuP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mz2rWvOApuf1qYdej7o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exIi23V1Atpez5Hf0pf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juYzZTqxaDfXhUJBz22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ztUocB4DXZF2sLUe.c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q6vyK31xxm5RxQV7nc0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EwxTCFVvYVq22Y1jSZG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N7LSLaIf1.9EdVkA2P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ogGFVThBu7TmBbRcdnI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3SgFxD6xldPwKbm1zAW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IoNLCR3bW7oJQg89Qxx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kIkJ3mhd9QLN.IjGN8C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OPyGFXi0P0S1W4pSAMA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CIMvTEbV9AwMtXQhjAC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XXovrfsaC0.VEfZocFY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YjbC7K5vnowv_M6uAh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Nl5TXzRsmjmtvrjGUh_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rHrntgpFGbmWumZgvSU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SuJ6YpRCSqfexsRM9JU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CG0phwIRDCifVGCIQv4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I9aWT2M5SNAoiUvmibj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zll96s3dT9G95wCsrJT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T48iQjSG_RjrFwxM3Qs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iQudLfTMib1rgznSpDH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xmXM._mYmCohDFpvQUb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YLoQAdsgGqXwyCrHvRA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cM0I.BrLqTUJsmyQfrV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U2vllfm54VB0AibBe8v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SxNmsx7raOYt2UU8QRz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EIDoF64wXDdQhBHaD.k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01iWL.rF7l9qhh1DozC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1T_wbklxy1d3iGg_tXQ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eZCncedsGIONjN.oRQj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CTb2YyqxluIDYgucrty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XR_0BJbnWO_tMEs1Dzf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PR0iFhBbz66lWwhvT1M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fH.jPZguNM3MtyxObZh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bFWc0lMkqOZikE_cju9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u2avn14Gl0SstcWcAMr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s9cKiI4pvAphFw_l0CC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2333d5RlCtMLKsAVWJK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2jlgagDO.obZMu7K_Jg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ILlOZdh8Q_iVnzd_2D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R4pFyrlg2b7mvkotAK4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gLoRvSga.mVyCbFR1Kh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VY0GZCqcbVsLhoSf6Or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6hAoEb5Q_92k.o1_vpX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ZcV7ljwUPgHP8WxIO4K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n3ybXYjy4jAISubRzUK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8LVccfOwrR2p6KPdZlm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xJjyFtywHRG0XVOebbg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mpzsWXTQaW_7jFw5Pq3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yeU.uk01oeSm9V12uxG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ZsggQMu5Scx340FEBMT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RBkwj8LdtCkwoMMtx4U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nu_SfXnC3Cd_fZiiyCI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_QBOeV_cSXSXZ56SLgN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OYtBYAojB_SfwWYXHMw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j0z_VkuaQoXQ1U6yYV.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dRzZMcQjsq4G._GnSw4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lIzBReZf4Gea9dplrrQ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FvJ.DOjeLTVmn8wXYyd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8IiQxZ_OT2Kf.r0pBze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IjccAZjPjz1Nt5a2Ith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ZlL9pZP.UgXn7aeMl1K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jyrGTjaLBkzn1qg42nX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.QaZnMY6VAE3ZEeBCbm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Qkzxu3.9Y0E02K54jM.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LR0e1RHJQKqLkMlNsg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cur.XT0gVx_BoBYocp2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do7frNoAWmbqVAVZOWD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sT0ue.hQ.OJOr9.bfCZ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eQa0iCwfk9OZcP2Bdbi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3tYIMPRs.I73TNDf5_6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lqNEbchV8VAV_00YGxg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ynkclsaZ7gnG.IeesP2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w7wxzyfYK.JEvcUCE.P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BXEWuAitjWAhPvihtxn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XdZZsqyWSEAKqPr6rPM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flJhElO0.y6ltmWYhW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3jRsq5fPQjHj8SgEO.t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BeBSbz0GhONA7bWXM1e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jZ20DPE8wU.d3jL1X.v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KsDYr5Vyl7ot7Qc0Elm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BhjeW0tgMMhaXwxtPZF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p1PN9zEebH3zNsbCOT.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iRmj5HwmKsZXttC8WMD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33tNg3rx.09q2UEWwWb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LPMzqKp9oZWtBBZOaZI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634ApIvuGWJ_gviVWPi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ygcEpvsq4qaecqsFtA8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.750JO2ZnW_Jtm_c0k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YHEwf1gx1bLTOuUhCVa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Sy_n_e1OBWJW.6Kji3s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lKmr6v46zn8d8iGm2df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6PtDDtZjl_hVTuLxs7z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lXdLgDYxIoPNQkAgqtu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bfflcHMW9QtQA4TSUPR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qbK.y2kjSTZKSgQ68H4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ZwlWTtOvQqciQkTnv7_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1cmhLCbFEp4Utbz.JR2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FkDkBz5t5tknWE1gNWu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hfkZBNG24mSQWqPxMgD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4PV4G0DDSeie4fHdVB.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DQIHDdBEdjOZejl8wBY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SuAvcP2n2EAY4OG1vsZ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7pLjisFcX3oMidbyPex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F0YKuyY5S1vomt5afOF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.0WNNe8zSiqU3PTRmYN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gxEP7zThTbJf5fmQcAy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wIZB2A2qhkUdm_JStoh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og5PH28etw9gvgU0DfI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Xbl9MNePOJ22O9NUMmv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m9o48BVjBx_6LybCUuM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U.qNGoMJmcnrK8JLad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A7NFQqzWePtInqkYMLF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Bxo.urNL145cVxYvRPo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5rD2Ov02SOWL2JVwFXw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gqDLQOt.l5go0g9mkhh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RY3ywz9ZSxLQEx.TCSK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Kl6J5_Qcyu4djGC_zPr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g.7KxGFPjcVmClwtCfb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r6xeUSrHqWLbp7iaYPZ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YdSu1NMYwsMlPZDi3pF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zEJG89SN8V8tbT0Ba9h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1d7Mk6DoJo.kbtnC_f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8imM_dqfdisoLN3RvRe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xBF2VJdkuH7Sk7n8Oh6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FneIQDNN_KhS3BzO4or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t1Kx7BppAG5H5ZWdmD9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0H63n4tMYrgCQ4pY3Nt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L8Xf46TRyaUJukuuH7N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2AYJPWkTopNKkK2MGpc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WGSf07_xSglrhq9Q3vF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vaWv3fwCa19R9RUNjH.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FRIhBhn4CpijC3d.5nz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Bglskkxc5fuItpnsDta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qd_t_9Bw7srk6y7O2DD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TqrF7LAqbLP9E8lm94b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pm2X69FSu5SEqgEsbZr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GuNEzPVt9zjC1VOHWGj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mNfUWEnuA3sT0tU5AG7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qRxCD49DtVxBx_g3n.n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4w9wf2slgixnzHsG4F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947U_XO9zEBA75bfm6f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8yUfNjUHBrxYLcncb_J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CxWIZ2Loa7rJks5z6VG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ZlcDhBTw2_YnpNYOA9W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PI0IE4k2xn4THbyhOon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ZkvAfmkLl23RDWBqTDl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mN7H0zT4Fn9HsQheDiP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_2KEBNdrtL545lleomC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HgmV99wSPPQJSnqWS5G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5rD2Ov02SOWL2JVwFXw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o_fmGPyRYSxX.Ck7jO7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FneIQDNN_KhS3BzO4or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1d7Mk6DoJo.kbtnC_f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8imM_dqfdisoLN3RvRe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TqrF7LAqbLP9E8lm94b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xBF2VJdkuH7Sk7n8Oh6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vaWv3fwCa19R9RUNjH.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L8Xf46TRyaUJukuuH7N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qd_t_9Bw7srk6y7O2DD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GuNEzPVt9zjC1VOHWGj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ZkvAfmkLl23RDWBqTDl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b.6KlVHtU8LAJJu10ub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mN7H0zT4Fn9HsQheDi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_2KEBNdrtL545lleomC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HgmV99wSPPQJSnqWS5G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0ptu1NR_IXfut1rogo9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Uvyj6Dlmh2RAVaMZZ8H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WBsi4yoO_M6j5OFv._i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Jl5yoPD6kKwqDO6TvC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ZxfN2Fr077PiqgRceWy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Vsj1_x0Ym2fIo4SlMv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93JZYLr8Cz44Hu9tJZ3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YNhNC.ZuTZocefzYreV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BmUTmtIw91hVw0ilQvB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ZA.VWCeSkiGp9FXWnrl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EcqnofxibQmXIGBiDUL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FbvPvrIXUYWssqj2.c.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tBCJGxOwLnSCZecE_u2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c4aecneihkKTNGfmfE.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FJZcn_yD.yNNjhL1LCg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kD01uvORr9nEvJEWdO6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AUYeBD7g.YL4oTsduUa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CpVbJcmLrPeO7sZlXIf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FKZ6.8dOWOTO69egWfb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uYxukZHjcFwGRCBbECi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Gk4RUmaFhTmPKgF18O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ZeDeNHLmNdeK3HIA_gh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vWv3Vm3m9ANPFxAM8L1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K8lqyOpGmY9doNkdJBR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t92NhQe_zLz7MkVCj8I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zmngAJxNZJu1ypxB6j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d95SKWA_w7wyOoKcyD7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6pCnBEhoeQp.RljjzVA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vQcBqBq9zclMP5FSC5h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dUoK8XLLmbRWkyod.wX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32x8nVZRtDty2KBB80n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d0.zym2fTc.SKJT46S3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TxsPufM0MI9.z184uKo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N9Vc2kx0IIaCsFmMd9n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mT9owm.fXqzUl5nitu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tpwEZnhrBAipSOmB4C6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nlh.AoGzxpuxYyr7hhR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hdzrfTIU7XNFv8LWD2k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RcDt59hZBSfvpl09EEg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pVmdgB.MgCCXF5Dhq2V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SHigWUCGJJae7TnAgJ_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8RpOCMWZSinr1OkAwr3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oDR2d60x2_YxNfZXQ9p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.oHCiAT4pKYkEdfmWAr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H2rSx2r9a2XqOVNi2EP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hQi6STDZK1R174cTK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qBc07Q5btQaxgPkxQs6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.ObWjZ6rzl0blHjhGP_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aK35vUSQmOg899ULjLq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M.KpbHvC1NZ1VpeSjHW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MbSaG5DmhtUbnOWRY4A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atLVVoTeqS4kFa3Usdn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AAC7.ZkOkT8N33noYIA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C_YGUliV.DpeYRMDyxf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HVG9qJipXeU6RpFVv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sHt8smaOCAe6NWsVJlO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jft8haffpNzw3JsI3CR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M4In5Ew9ks7kHx_fvON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5IP9iB.UBQHWFiG5tpJ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LFQQXMka0JwZNk3_3Pp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_wSdUaMmC1QepXn0guD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EuPv4X8lvq3ilEQ3nm.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.69QdLYNES5CgUudraT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5MnD4XWemr9wJ.13JkE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WIHO0AOd03Hn0YzR252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opxjomam4RFmsHRSh9r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12</TotalTime>
  <Words>1306</Words>
  <Application>Microsoft Office PowerPoint</Application>
  <PresentationFormat>Widescreen</PresentationFormat>
  <Paragraphs>390</Paragraphs>
  <Slides>17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7</vt:i4>
      </vt:variant>
    </vt:vector>
  </HeadingPairs>
  <TitlesOfParts>
    <vt:vector size="22" baseType="lpstr">
      <vt:lpstr>Arial</vt:lpstr>
      <vt:lpstr>Calibri</vt:lpstr>
      <vt:lpstr>Calibri Light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Matheus Mendes</dc:creator>
  <cp:lastModifiedBy>Matheus Mendes</cp:lastModifiedBy>
  <cp:revision>38</cp:revision>
  <dcterms:created xsi:type="dcterms:W3CDTF">2023-01-05T00:30:35Z</dcterms:created>
  <dcterms:modified xsi:type="dcterms:W3CDTF">2023-02-08T23:31:29Z</dcterms:modified>
</cp:coreProperties>
</file>